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3.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5" r:id="rId2"/>
    <p:sldMasterId id="2147483703" r:id="rId3"/>
    <p:sldMasterId id="2147483730" r:id="rId4"/>
  </p:sldMasterIdLst>
  <p:notesMasterIdLst>
    <p:notesMasterId r:id="rId28"/>
  </p:notesMasterIdLst>
  <p:sldIdLst>
    <p:sldId id="514" r:id="rId5"/>
    <p:sldId id="491" r:id="rId6"/>
    <p:sldId id="489" r:id="rId7"/>
    <p:sldId id="492" r:id="rId8"/>
    <p:sldId id="493" r:id="rId9"/>
    <p:sldId id="367" r:id="rId10"/>
    <p:sldId id="368" r:id="rId11"/>
    <p:sldId id="369" r:id="rId12"/>
    <p:sldId id="371" r:id="rId13"/>
    <p:sldId id="372" r:id="rId14"/>
    <p:sldId id="496" r:id="rId15"/>
    <p:sldId id="497" r:id="rId16"/>
    <p:sldId id="498" r:id="rId17"/>
    <p:sldId id="499" r:id="rId18"/>
    <p:sldId id="500" r:id="rId19"/>
    <p:sldId id="501" r:id="rId20"/>
    <p:sldId id="502" r:id="rId21"/>
    <p:sldId id="503" r:id="rId22"/>
    <p:sldId id="504" r:id="rId23"/>
    <p:sldId id="505" r:id="rId24"/>
    <p:sldId id="506" r:id="rId25"/>
    <p:sldId id="507" r:id="rId26"/>
    <p:sldId id="484" r:id="rId27"/>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4660"/>
  </p:normalViewPr>
  <p:slideViewPr>
    <p:cSldViewPr snapToGrid="0">
      <p:cViewPr varScale="1">
        <p:scale>
          <a:sx n="114" d="100"/>
          <a:sy n="114" d="100"/>
        </p:scale>
        <p:origin x="1506"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slideMaster" Target="slideMasters/slideMaster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8AC3416-9C31-4C46-9093-F831B8303FFC}" type="doc">
      <dgm:prSet loTypeId="urn:microsoft.com/office/officeart/2005/8/layout/radial4" loCatId="relationship" qsTypeId="urn:microsoft.com/office/officeart/2005/8/quickstyle/simple1" qsCatId="simple" csTypeId="urn:microsoft.com/office/officeart/2005/8/colors/accent1_2" csCatId="accent1" phldr="1"/>
      <dgm:spPr/>
      <dgm:t>
        <a:bodyPr/>
        <a:lstStyle/>
        <a:p>
          <a:endParaRPr lang="en-US"/>
        </a:p>
      </dgm:t>
    </dgm:pt>
    <dgm:pt modelId="{38B26CB1-C9C5-449B-A816-BBF7D20E9540}">
      <dgm:prSet phldrT="[Text]"/>
      <dgm:spPr>
        <a:solidFill>
          <a:srgbClr val="C00000"/>
        </a:solidFill>
      </dgm:spPr>
      <dgm:t>
        <a:bodyPr/>
        <a:lstStyle/>
        <a:p>
          <a:r>
            <a:rPr lang="en-US" dirty="0"/>
            <a:t>Online Solution</a:t>
          </a:r>
        </a:p>
      </dgm:t>
    </dgm:pt>
    <dgm:pt modelId="{D23DD790-820F-450F-BC27-5CE75EC7A489}" type="parTrans" cxnId="{2F544E87-B8E5-4742-8165-A3A6E741AB30}">
      <dgm:prSet/>
      <dgm:spPr/>
      <dgm:t>
        <a:bodyPr/>
        <a:lstStyle/>
        <a:p>
          <a:endParaRPr lang="en-US"/>
        </a:p>
      </dgm:t>
    </dgm:pt>
    <dgm:pt modelId="{DF38F5A3-3769-4EAC-9BE4-20AE4693D84B}" type="sibTrans" cxnId="{2F544E87-B8E5-4742-8165-A3A6E741AB30}">
      <dgm:prSet/>
      <dgm:spPr/>
      <dgm:t>
        <a:bodyPr/>
        <a:lstStyle/>
        <a:p>
          <a:endParaRPr lang="en-US"/>
        </a:p>
      </dgm:t>
    </dgm:pt>
    <dgm:pt modelId="{BE9BEDC9-D515-41B0-91A6-84B592C6ABE4}">
      <dgm:prSet phldrT="[Text]"/>
      <dgm:spPr>
        <a:solidFill>
          <a:srgbClr val="002060"/>
        </a:solidFill>
      </dgm:spPr>
      <dgm:t>
        <a:bodyPr/>
        <a:lstStyle/>
        <a:p>
          <a:r>
            <a:rPr lang="en-US" dirty="0"/>
            <a:t>Centralized Purchasing Agency</a:t>
          </a:r>
        </a:p>
      </dgm:t>
    </dgm:pt>
    <dgm:pt modelId="{A3C15AFE-1B0C-4086-956F-8EA10F8EDE5A}" type="parTrans" cxnId="{4E8AA3BB-87C7-4AE3-8263-48A07DC8C233}">
      <dgm:prSet/>
      <dgm:spPr/>
      <dgm:t>
        <a:bodyPr/>
        <a:lstStyle/>
        <a:p>
          <a:endParaRPr lang="en-US"/>
        </a:p>
      </dgm:t>
    </dgm:pt>
    <dgm:pt modelId="{1F2916F1-50CC-46F0-89CD-2E566259C5E8}" type="sibTrans" cxnId="{4E8AA3BB-87C7-4AE3-8263-48A07DC8C233}">
      <dgm:prSet/>
      <dgm:spPr/>
      <dgm:t>
        <a:bodyPr/>
        <a:lstStyle/>
        <a:p>
          <a:endParaRPr lang="en-US"/>
        </a:p>
      </dgm:t>
    </dgm:pt>
    <dgm:pt modelId="{A42F8AA3-9D0A-4D72-8334-993386BC25C4}">
      <dgm:prSet phldrT="[Text]"/>
      <dgm:spPr>
        <a:solidFill>
          <a:schemeClr val="accent2"/>
        </a:solidFill>
      </dgm:spPr>
      <dgm:t>
        <a:bodyPr/>
        <a:lstStyle/>
        <a:p>
          <a:r>
            <a:rPr lang="en-US" dirty="0"/>
            <a:t>Market</a:t>
          </a:r>
        </a:p>
      </dgm:t>
    </dgm:pt>
    <dgm:pt modelId="{7585B044-6DBD-4BAC-BE6F-38C192F48189}" type="parTrans" cxnId="{D920EF6D-B2CF-49A4-BCAD-A21886CEEDEC}">
      <dgm:prSet/>
      <dgm:spPr/>
      <dgm:t>
        <a:bodyPr/>
        <a:lstStyle/>
        <a:p>
          <a:endParaRPr lang="en-US"/>
        </a:p>
      </dgm:t>
    </dgm:pt>
    <dgm:pt modelId="{C9B0E1E9-8974-4004-83A3-5C4749558EA1}" type="sibTrans" cxnId="{D920EF6D-B2CF-49A4-BCAD-A21886CEEDEC}">
      <dgm:prSet/>
      <dgm:spPr/>
      <dgm:t>
        <a:bodyPr/>
        <a:lstStyle/>
        <a:p>
          <a:endParaRPr lang="en-US"/>
        </a:p>
      </dgm:t>
    </dgm:pt>
    <dgm:pt modelId="{A0C1B79D-19C8-4BFE-B605-DD3FB9DA6959}">
      <dgm:prSet phldrT="[Text]"/>
      <dgm:spPr/>
      <dgm:t>
        <a:bodyPr/>
        <a:lstStyle/>
        <a:p>
          <a:r>
            <a:rPr lang="en-US" dirty="0"/>
            <a:t>Users</a:t>
          </a:r>
        </a:p>
      </dgm:t>
    </dgm:pt>
    <dgm:pt modelId="{B4DA9946-169F-4788-B6A7-82205128549B}" type="parTrans" cxnId="{BF41E516-42A6-4B53-A1C0-010496F3ADFB}">
      <dgm:prSet/>
      <dgm:spPr/>
      <dgm:t>
        <a:bodyPr/>
        <a:lstStyle/>
        <a:p>
          <a:endParaRPr lang="en-US"/>
        </a:p>
      </dgm:t>
    </dgm:pt>
    <dgm:pt modelId="{A0325045-706A-4DEC-ADF6-EFEC844954C7}" type="sibTrans" cxnId="{BF41E516-42A6-4B53-A1C0-010496F3ADFB}">
      <dgm:prSet/>
      <dgm:spPr/>
      <dgm:t>
        <a:bodyPr/>
        <a:lstStyle/>
        <a:p>
          <a:endParaRPr lang="en-US"/>
        </a:p>
      </dgm:t>
    </dgm:pt>
    <dgm:pt modelId="{8CE52C9B-D150-428E-BEA5-0DF75C0642F9}">
      <dgm:prSet/>
      <dgm:spPr>
        <a:solidFill>
          <a:srgbClr val="00B050"/>
        </a:solidFill>
      </dgm:spPr>
      <dgm:t>
        <a:bodyPr/>
        <a:lstStyle/>
        <a:p>
          <a:r>
            <a:rPr lang="en-US" dirty="0"/>
            <a:t>Congress</a:t>
          </a:r>
        </a:p>
      </dgm:t>
    </dgm:pt>
    <dgm:pt modelId="{39A96C4E-093D-48A2-85F9-610DA97E172D}" type="parTrans" cxnId="{733AC8B7-1E90-49F2-972E-4D4EE502B700}">
      <dgm:prSet/>
      <dgm:spPr/>
      <dgm:t>
        <a:bodyPr/>
        <a:lstStyle/>
        <a:p>
          <a:endParaRPr lang="en-US"/>
        </a:p>
      </dgm:t>
    </dgm:pt>
    <dgm:pt modelId="{4F881845-1057-43C8-8EB0-28FCDC188DBB}" type="sibTrans" cxnId="{733AC8B7-1E90-49F2-972E-4D4EE502B700}">
      <dgm:prSet/>
      <dgm:spPr/>
      <dgm:t>
        <a:bodyPr/>
        <a:lstStyle/>
        <a:p>
          <a:endParaRPr lang="en-US"/>
        </a:p>
      </dgm:t>
    </dgm:pt>
    <dgm:pt modelId="{9C97FA43-D1FB-41FD-A838-59D37D0468EF}" type="pres">
      <dgm:prSet presAssocID="{C8AC3416-9C31-4C46-9093-F831B8303FFC}" presName="cycle" presStyleCnt="0">
        <dgm:presLayoutVars>
          <dgm:chMax val="1"/>
          <dgm:dir/>
          <dgm:animLvl val="ctr"/>
          <dgm:resizeHandles val="exact"/>
        </dgm:presLayoutVars>
      </dgm:prSet>
      <dgm:spPr/>
    </dgm:pt>
    <dgm:pt modelId="{057FF733-D4BB-4011-85FC-206D4D11A710}" type="pres">
      <dgm:prSet presAssocID="{38B26CB1-C9C5-449B-A816-BBF7D20E9540}" presName="centerShape" presStyleLbl="node0" presStyleIdx="0" presStyleCnt="1"/>
      <dgm:spPr/>
    </dgm:pt>
    <dgm:pt modelId="{042FBC3E-8E87-4CCC-96A0-E5396E45A26C}" type="pres">
      <dgm:prSet presAssocID="{A3C15AFE-1B0C-4086-956F-8EA10F8EDE5A}" presName="parTrans" presStyleLbl="bgSibTrans2D1" presStyleIdx="0" presStyleCnt="4"/>
      <dgm:spPr/>
    </dgm:pt>
    <dgm:pt modelId="{DE683611-472E-424C-8F1F-02C02D66C3FF}" type="pres">
      <dgm:prSet presAssocID="{BE9BEDC9-D515-41B0-91A6-84B592C6ABE4}" presName="node" presStyleLbl="node1" presStyleIdx="0" presStyleCnt="4">
        <dgm:presLayoutVars>
          <dgm:bulletEnabled val="1"/>
        </dgm:presLayoutVars>
      </dgm:prSet>
      <dgm:spPr/>
    </dgm:pt>
    <dgm:pt modelId="{0C83857D-B5DD-4685-93B8-2ACE86B24C18}" type="pres">
      <dgm:prSet presAssocID="{7585B044-6DBD-4BAC-BE6F-38C192F48189}" presName="parTrans" presStyleLbl="bgSibTrans2D1" presStyleIdx="1" presStyleCnt="4"/>
      <dgm:spPr/>
    </dgm:pt>
    <dgm:pt modelId="{B16E458D-78B4-44D9-8BAC-95B50CBBEBE1}" type="pres">
      <dgm:prSet presAssocID="{A42F8AA3-9D0A-4D72-8334-993386BC25C4}" presName="node" presStyleLbl="node1" presStyleIdx="1" presStyleCnt="4">
        <dgm:presLayoutVars>
          <dgm:bulletEnabled val="1"/>
        </dgm:presLayoutVars>
      </dgm:prSet>
      <dgm:spPr/>
    </dgm:pt>
    <dgm:pt modelId="{F3230760-F423-4CC4-8AA3-BCF1912B4547}" type="pres">
      <dgm:prSet presAssocID="{39A96C4E-093D-48A2-85F9-610DA97E172D}" presName="parTrans" presStyleLbl="bgSibTrans2D1" presStyleIdx="2" presStyleCnt="4"/>
      <dgm:spPr/>
    </dgm:pt>
    <dgm:pt modelId="{8339FD4B-8ADA-4A90-ACEB-342019168258}" type="pres">
      <dgm:prSet presAssocID="{8CE52C9B-D150-428E-BEA5-0DF75C0642F9}" presName="node" presStyleLbl="node1" presStyleIdx="2" presStyleCnt="4">
        <dgm:presLayoutVars>
          <dgm:bulletEnabled val="1"/>
        </dgm:presLayoutVars>
      </dgm:prSet>
      <dgm:spPr/>
    </dgm:pt>
    <dgm:pt modelId="{7F2C2E95-A083-424E-AEF1-84A57146E1D7}" type="pres">
      <dgm:prSet presAssocID="{B4DA9946-169F-4788-B6A7-82205128549B}" presName="parTrans" presStyleLbl="bgSibTrans2D1" presStyleIdx="3" presStyleCnt="4"/>
      <dgm:spPr/>
    </dgm:pt>
    <dgm:pt modelId="{6998147B-7FCE-4695-B41D-4338F333542A}" type="pres">
      <dgm:prSet presAssocID="{A0C1B79D-19C8-4BFE-B605-DD3FB9DA6959}" presName="node" presStyleLbl="node1" presStyleIdx="3" presStyleCnt="4" custRadScaleRad="98529" custRadScaleInc="1266">
        <dgm:presLayoutVars>
          <dgm:bulletEnabled val="1"/>
        </dgm:presLayoutVars>
      </dgm:prSet>
      <dgm:spPr/>
    </dgm:pt>
  </dgm:ptLst>
  <dgm:cxnLst>
    <dgm:cxn modelId="{BF41E516-42A6-4B53-A1C0-010496F3ADFB}" srcId="{38B26CB1-C9C5-449B-A816-BBF7D20E9540}" destId="{A0C1B79D-19C8-4BFE-B605-DD3FB9DA6959}" srcOrd="3" destOrd="0" parTransId="{B4DA9946-169F-4788-B6A7-82205128549B}" sibTransId="{A0325045-706A-4DEC-ADF6-EFEC844954C7}"/>
    <dgm:cxn modelId="{1BB4C527-3220-4F7E-8586-088D0471B023}" type="presOf" srcId="{A3C15AFE-1B0C-4086-956F-8EA10F8EDE5A}" destId="{042FBC3E-8E87-4CCC-96A0-E5396E45A26C}" srcOrd="0" destOrd="0" presId="urn:microsoft.com/office/officeart/2005/8/layout/radial4"/>
    <dgm:cxn modelId="{1BD08D4B-768E-4C7D-8B14-CF76F7666207}" type="presOf" srcId="{B4DA9946-169F-4788-B6A7-82205128549B}" destId="{7F2C2E95-A083-424E-AEF1-84A57146E1D7}" srcOrd="0" destOrd="0" presId="urn:microsoft.com/office/officeart/2005/8/layout/radial4"/>
    <dgm:cxn modelId="{D920EF6D-B2CF-49A4-BCAD-A21886CEEDEC}" srcId="{38B26CB1-C9C5-449B-A816-BBF7D20E9540}" destId="{A42F8AA3-9D0A-4D72-8334-993386BC25C4}" srcOrd="1" destOrd="0" parTransId="{7585B044-6DBD-4BAC-BE6F-38C192F48189}" sibTransId="{C9B0E1E9-8974-4004-83A3-5C4749558EA1}"/>
    <dgm:cxn modelId="{0E1B126F-552C-4C0F-95A1-FC7EA9F7DD00}" type="presOf" srcId="{A0C1B79D-19C8-4BFE-B605-DD3FB9DA6959}" destId="{6998147B-7FCE-4695-B41D-4338F333542A}" srcOrd="0" destOrd="0" presId="urn:microsoft.com/office/officeart/2005/8/layout/radial4"/>
    <dgm:cxn modelId="{E048F557-CDB5-4404-A5CE-919151BFBC74}" type="presOf" srcId="{8CE52C9B-D150-428E-BEA5-0DF75C0642F9}" destId="{8339FD4B-8ADA-4A90-ACEB-342019168258}" srcOrd="0" destOrd="0" presId="urn:microsoft.com/office/officeart/2005/8/layout/radial4"/>
    <dgm:cxn modelId="{6911BB84-DAC1-4DD5-9D78-ADFFDCBFC4B2}" type="presOf" srcId="{39A96C4E-093D-48A2-85F9-610DA97E172D}" destId="{F3230760-F423-4CC4-8AA3-BCF1912B4547}" srcOrd="0" destOrd="0" presId="urn:microsoft.com/office/officeart/2005/8/layout/radial4"/>
    <dgm:cxn modelId="{2F544E87-B8E5-4742-8165-A3A6E741AB30}" srcId="{C8AC3416-9C31-4C46-9093-F831B8303FFC}" destId="{38B26CB1-C9C5-449B-A816-BBF7D20E9540}" srcOrd="0" destOrd="0" parTransId="{D23DD790-820F-450F-BC27-5CE75EC7A489}" sibTransId="{DF38F5A3-3769-4EAC-9BE4-20AE4693D84B}"/>
    <dgm:cxn modelId="{89E33E90-A040-4FE3-9036-80AF5363B2FF}" type="presOf" srcId="{38B26CB1-C9C5-449B-A816-BBF7D20E9540}" destId="{057FF733-D4BB-4011-85FC-206D4D11A710}" srcOrd="0" destOrd="0" presId="urn:microsoft.com/office/officeart/2005/8/layout/radial4"/>
    <dgm:cxn modelId="{733AC8B7-1E90-49F2-972E-4D4EE502B700}" srcId="{38B26CB1-C9C5-449B-A816-BBF7D20E9540}" destId="{8CE52C9B-D150-428E-BEA5-0DF75C0642F9}" srcOrd="2" destOrd="0" parTransId="{39A96C4E-093D-48A2-85F9-610DA97E172D}" sibTransId="{4F881845-1057-43C8-8EB0-28FCDC188DBB}"/>
    <dgm:cxn modelId="{4E8AA3BB-87C7-4AE3-8263-48A07DC8C233}" srcId="{38B26CB1-C9C5-449B-A816-BBF7D20E9540}" destId="{BE9BEDC9-D515-41B0-91A6-84B592C6ABE4}" srcOrd="0" destOrd="0" parTransId="{A3C15AFE-1B0C-4086-956F-8EA10F8EDE5A}" sibTransId="{1F2916F1-50CC-46F0-89CD-2E566259C5E8}"/>
    <dgm:cxn modelId="{84C563E3-234B-4196-9349-E28CE96EEFF3}" type="presOf" srcId="{C8AC3416-9C31-4C46-9093-F831B8303FFC}" destId="{9C97FA43-D1FB-41FD-A838-59D37D0468EF}" srcOrd="0" destOrd="0" presId="urn:microsoft.com/office/officeart/2005/8/layout/radial4"/>
    <dgm:cxn modelId="{798091E4-3426-444A-BD5F-CC4B83CC8BD1}" type="presOf" srcId="{BE9BEDC9-D515-41B0-91A6-84B592C6ABE4}" destId="{DE683611-472E-424C-8F1F-02C02D66C3FF}" srcOrd="0" destOrd="0" presId="urn:microsoft.com/office/officeart/2005/8/layout/radial4"/>
    <dgm:cxn modelId="{D288F7EA-9FB3-42E5-A8A8-4708509CFE45}" type="presOf" srcId="{7585B044-6DBD-4BAC-BE6F-38C192F48189}" destId="{0C83857D-B5DD-4685-93B8-2ACE86B24C18}" srcOrd="0" destOrd="0" presId="urn:microsoft.com/office/officeart/2005/8/layout/radial4"/>
    <dgm:cxn modelId="{B11AFEEB-BC7A-4DD2-8D67-7CD28E56C21C}" type="presOf" srcId="{A42F8AA3-9D0A-4D72-8334-993386BC25C4}" destId="{B16E458D-78B4-44D9-8BAC-95B50CBBEBE1}" srcOrd="0" destOrd="0" presId="urn:microsoft.com/office/officeart/2005/8/layout/radial4"/>
    <dgm:cxn modelId="{8F1AC810-48EF-47EF-BFCE-7608DDD44A18}" type="presParOf" srcId="{9C97FA43-D1FB-41FD-A838-59D37D0468EF}" destId="{057FF733-D4BB-4011-85FC-206D4D11A710}" srcOrd="0" destOrd="0" presId="urn:microsoft.com/office/officeart/2005/8/layout/radial4"/>
    <dgm:cxn modelId="{58820E70-25F5-443D-B6B6-1B87E6B5D994}" type="presParOf" srcId="{9C97FA43-D1FB-41FD-A838-59D37D0468EF}" destId="{042FBC3E-8E87-4CCC-96A0-E5396E45A26C}" srcOrd="1" destOrd="0" presId="urn:microsoft.com/office/officeart/2005/8/layout/radial4"/>
    <dgm:cxn modelId="{8A54923F-1FE7-43F1-B8FB-3CB78E856B8A}" type="presParOf" srcId="{9C97FA43-D1FB-41FD-A838-59D37D0468EF}" destId="{DE683611-472E-424C-8F1F-02C02D66C3FF}" srcOrd="2" destOrd="0" presId="urn:microsoft.com/office/officeart/2005/8/layout/radial4"/>
    <dgm:cxn modelId="{D865B9FB-AAAE-42EB-8A80-2544C7B26344}" type="presParOf" srcId="{9C97FA43-D1FB-41FD-A838-59D37D0468EF}" destId="{0C83857D-B5DD-4685-93B8-2ACE86B24C18}" srcOrd="3" destOrd="0" presId="urn:microsoft.com/office/officeart/2005/8/layout/radial4"/>
    <dgm:cxn modelId="{B7D70115-BED8-4C14-8D92-0A9B6DF40908}" type="presParOf" srcId="{9C97FA43-D1FB-41FD-A838-59D37D0468EF}" destId="{B16E458D-78B4-44D9-8BAC-95B50CBBEBE1}" srcOrd="4" destOrd="0" presId="urn:microsoft.com/office/officeart/2005/8/layout/radial4"/>
    <dgm:cxn modelId="{802FD683-4A4F-4519-814A-D2D3DFE61E86}" type="presParOf" srcId="{9C97FA43-D1FB-41FD-A838-59D37D0468EF}" destId="{F3230760-F423-4CC4-8AA3-BCF1912B4547}" srcOrd="5" destOrd="0" presId="urn:microsoft.com/office/officeart/2005/8/layout/radial4"/>
    <dgm:cxn modelId="{7FAC1B17-F4D9-44F0-BC57-2E6258DEF831}" type="presParOf" srcId="{9C97FA43-D1FB-41FD-A838-59D37D0468EF}" destId="{8339FD4B-8ADA-4A90-ACEB-342019168258}" srcOrd="6" destOrd="0" presId="urn:microsoft.com/office/officeart/2005/8/layout/radial4"/>
    <dgm:cxn modelId="{0EF5C7F2-2486-48F8-8FAD-190199C7B61E}" type="presParOf" srcId="{9C97FA43-D1FB-41FD-A838-59D37D0468EF}" destId="{7F2C2E95-A083-424E-AEF1-84A57146E1D7}" srcOrd="7" destOrd="0" presId="urn:microsoft.com/office/officeart/2005/8/layout/radial4"/>
    <dgm:cxn modelId="{5F93E8CE-4F9B-40BB-A9B1-81300F1DBD40}" type="presParOf" srcId="{9C97FA43-D1FB-41FD-A838-59D37D0468EF}" destId="{6998147B-7FCE-4695-B41D-4338F333542A}" srcOrd="8" destOrd="0" presId="urn:microsoft.com/office/officeart/2005/8/layout/radial4"/>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8AC3416-9C31-4C46-9093-F831B8303FFC}" type="doc">
      <dgm:prSet loTypeId="urn:microsoft.com/office/officeart/2005/8/layout/radial4" loCatId="relationship" qsTypeId="urn:microsoft.com/office/officeart/2005/8/quickstyle/simple1" qsCatId="simple" csTypeId="urn:microsoft.com/office/officeart/2005/8/colors/accent1_2" csCatId="accent1" phldr="1"/>
      <dgm:spPr/>
      <dgm:t>
        <a:bodyPr/>
        <a:lstStyle/>
        <a:p>
          <a:endParaRPr lang="en-US"/>
        </a:p>
      </dgm:t>
    </dgm:pt>
    <dgm:pt modelId="{38B26CB1-C9C5-449B-A816-BBF7D20E9540}">
      <dgm:prSet phldrT="[Text]"/>
      <dgm:spPr>
        <a:solidFill>
          <a:srgbClr val="C00000"/>
        </a:solidFill>
      </dgm:spPr>
      <dgm:t>
        <a:bodyPr/>
        <a:lstStyle/>
        <a:p>
          <a:r>
            <a:rPr lang="en-US" dirty="0"/>
            <a:t>Online Solution</a:t>
          </a:r>
        </a:p>
      </dgm:t>
    </dgm:pt>
    <dgm:pt modelId="{D23DD790-820F-450F-BC27-5CE75EC7A489}" type="parTrans" cxnId="{2F544E87-B8E5-4742-8165-A3A6E741AB30}">
      <dgm:prSet/>
      <dgm:spPr/>
      <dgm:t>
        <a:bodyPr/>
        <a:lstStyle/>
        <a:p>
          <a:endParaRPr lang="en-US"/>
        </a:p>
      </dgm:t>
    </dgm:pt>
    <dgm:pt modelId="{DF38F5A3-3769-4EAC-9BE4-20AE4693D84B}" type="sibTrans" cxnId="{2F544E87-B8E5-4742-8165-A3A6E741AB30}">
      <dgm:prSet/>
      <dgm:spPr/>
      <dgm:t>
        <a:bodyPr/>
        <a:lstStyle/>
        <a:p>
          <a:endParaRPr lang="en-US"/>
        </a:p>
      </dgm:t>
    </dgm:pt>
    <dgm:pt modelId="{BE9BEDC9-D515-41B0-91A6-84B592C6ABE4}">
      <dgm:prSet phldrT="[Text]"/>
      <dgm:spPr>
        <a:solidFill>
          <a:srgbClr val="002060"/>
        </a:solidFill>
      </dgm:spPr>
      <dgm:t>
        <a:bodyPr/>
        <a:lstStyle/>
        <a:p>
          <a:r>
            <a:rPr lang="en-US" dirty="0"/>
            <a:t>Centralized Purchasing Agency</a:t>
          </a:r>
        </a:p>
      </dgm:t>
    </dgm:pt>
    <dgm:pt modelId="{A3C15AFE-1B0C-4086-956F-8EA10F8EDE5A}" type="parTrans" cxnId="{4E8AA3BB-87C7-4AE3-8263-48A07DC8C233}">
      <dgm:prSet/>
      <dgm:spPr/>
      <dgm:t>
        <a:bodyPr/>
        <a:lstStyle/>
        <a:p>
          <a:endParaRPr lang="en-US"/>
        </a:p>
      </dgm:t>
    </dgm:pt>
    <dgm:pt modelId="{1F2916F1-50CC-46F0-89CD-2E566259C5E8}" type="sibTrans" cxnId="{4E8AA3BB-87C7-4AE3-8263-48A07DC8C233}">
      <dgm:prSet/>
      <dgm:spPr/>
      <dgm:t>
        <a:bodyPr/>
        <a:lstStyle/>
        <a:p>
          <a:endParaRPr lang="en-US"/>
        </a:p>
      </dgm:t>
    </dgm:pt>
    <dgm:pt modelId="{A42F8AA3-9D0A-4D72-8334-993386BC25C4}">
      <dgm:prSet phldrT="[Text]"/>
      <dgm:spPr>
        <a:solidFill>
          <a:schemeClr val="accent2"/>
        </a:solidFill>
      </dgm:spPr>
      <dgm:t>
        <a:bodyPr/>
        <a:lstStyle/>
        <a:p>
          <a:r>
            <a:rPr lang="en-US" dirty="0"/>
            <a:t>Market</a:t>
          </a:r>
        </a:p>
      </dgm:t>
    </dgm:pt>
    <dgm:pt modelId="{7585B044-6DBD-4BAC-BE6F-38C192F48189}" type="parTrans" cxnId="{D920EF6D-B2CF-49A4-BCAD-A21886CEEDEC}">
      <dgm:prSet/>
      <dgm:spPr/>
      <dgm:t>
        <a:bodyPr/>
        <a:lstStyle/>
        <a:p>
          <a:endParaRPr lang="en-US"/>
        </a:p>
      </dgm:t>
    </dgm:pt>
    <dgm:pt modelId="{C9B0E1E9-8974-4004-83A3-5C4749558EA1}" type="sibTrans" cxnId="{D920EF6D-B2CF-49A4-BCAD-A21886CEEDEC}">
      <dgm:prSet/>
      <dgm:spPr/>
      <dgm:t>
        <a:bodyPr/>
        <a:lstStyle/>
        <a:p>
          <a:endParaRPr lang="en-US"/>
        </a:p>
      </dgm:t>
    </dgm:pt>
    <dgm:pt modelId="{A0C1B79D-19C8-4BFE-B605-DD3FB9DA6959}">
      <dgm:prSet phldrT="[Text]"/>
      <dgm:spPr/>
      <dgm:t>
        <a:bodyPr/>
        <a:lstStyle/>
        <a:p>
          <a:r>
            <a:rPr lang="en-US" dirty="0"/>
            <a:t>Users</a:t>
          </a:r>
        </a:p>
      </dgm:t>
    </dgm:pt>
    <dgm:pt modelId="{B4DA9946-169F-4788-B6A7-82205128549B}" type="parTrans" cxnId="{BF41E516-42A6-4B53-A1C0-010496F3ADFB}">
      <dgm:prSet/>
      <dgm:spPr/>
      <dgm:t>
        <a:bodyPr/>
        <a:lstStyle/>
        <a:p>
          <a:endParaRPr lang="en-US"/>
        </a:p>
      </dgm:t>
    </dgm:pt>
    <dgm:pt modelId="{A0325045-706A-4DEC-ADF6-EFEC844954C7}" type="sibTrans" cxnId="{BF41E516-42A6-4B53-A1C0-010496F3ADFB}">
      <dgm:prSet/>
      <dgm:spPr/>
      <dgm:t>
        <a:bodyPr/>
        <a:lstStyle/>
        <a:p>
          <a:endParaRPr lang="en-US"/>
        </a:p>
      </dgm:t>
    </dgm:pt>
    <dgm:pt modelId="{8CE52C9B-D150-428E-BEA5-0DF75C0642F9}">
      <dgm:prSet/>
      <dgm:spPr>
        <a:solidFill>
          <a:srgbClr val="00B050"/>
        </a:solidFill>
      </dgm:spPr>
      <dgm:t>
        <a:bodyPr/>
        <a:lstStyle/>
        <a:p>
          <a:r>
            <a:rPr lang="en-US" dirty="0"/>
            <a:t>Congress</a:t>
          </a:r>
        </a:p>
      </dgm:t>
    </dgm:pt>
    <dgm:pt modelId="{39A96C4E-093D-48A2-85F9-610DA97E172D}" type="parTrans" cxnId="{733AC8B7-1E90-49F2-972E-4D4EE502B700}">
      <dgm:prSet/>
      <dgm:spPr/>
      <dgm:t>
        <a:bodyPr/>
        <a:lstStyle/>
        <a:p>
          <a:endParaRPr lang="en-US"/>
        </a:p>
      </dgm:t>
    </dgm:pt>
    <dgm:pt modelId="{4F881845-1057-43C8-8EB0-28FCDC188DBB}" type="sibTrans" cxnId="{733AC8B7-1E90-49F2-972E-4D4EE502B700}">
      <dgm:prSet/>
      <dgm:spPr/>
      <dgm:t>
        <a:bodyPr/>
        <a:lstStyle/>
        <a:p>
          <a:endParaRPr lang="en-US"/>
        </a:p>
      </dgm:t>
    </dgm:pt>
    <dgm:pt modelId="{9C97FA43-D1FB-41FD-A838-59D37D0468EF}" type="pres">
      <dgm:prSet presAssocID="{C8AC3416-9C31-4C46-9093-F831B8303FFC}" presName="cycle" presStyleCnt="0">
        <dgm:presLayoutVars>
          <dgm:chMax val="1"/>
          <dgm:dir/>
          <dgm:animLvl val="ctr"/>
          <dgm:resizeHandles val="exact"/>
        </dgm:presLayoutVars>
      </dgm:prSet>
      <dgm:spPr/>
    </dgm:pt>
    <dgm:pt modelId="{057FF733-D4BB-4011-85FC-206D4D11A710}" type="pres">
      <dgm:prSet presAssocID="{38B26CB1-C9C5-449B-A816-BBF7D20E9540}" presName="centerShape" presStyleLbl="node0" presStyleIdx="0" presStyleCnt="1"/>
      <dgm:spPr/>
    </dgm:pt>
    <dgm:pt modelId="{042FBC3E-8E87-4CCC-96A0-E5396E45A26C}" type="pres">
      <dgm:prSet presAssocID="{A3C15AFE-1B0C-4086-956F-8EA10F8EDE5A}" presName="parTrans" presStyleLbl="bgSibTrans2D1" presStyleIdx="0" presStyleCnt="4"/>
      <dgm:spPr/>
    </dgm:pt>
    <dgm:pt modelId="{DE683611-472E-424C-8F1F-02C02D66C3FF}" type="pres">
      <dgm:prSet presAssocID="{BE9BEDC9-D515-41B0-91A6-84B592C6ABE4}" presName="node" presStyleLbl="node1" presStyleIdx="0" presStyleCnt="4">
        <dgm:presLayoutVars>
          <dgm:bulletEnabled val="1"/>
        </dgm:presLayoutVars>
      </dgm:prSet>
      <dgm:spPr/>
    </dgm:pt>
    <dgm:pt modelId="{0C83857D-B5DD-4685-93B8-2ACE86B24C18}" type="pres">
      <dgm:prSet presAssocID="{7585B044-6DBD-4BAC-BE6F-38C192F48189}" presName="parTrans" presStyleLbl="bgSibTrans2D1" presStyleIdx="1" presStyleCnt="4"/>
      <dgm:spPr/>
    </dgm:pt>
    <dgm:pt modelId="{B16E458D-78B4-44D9-8BAC-95B50CBBEBE1}" type="pres">
      <dgm:prSet presAssocID="{A42F8AA3-9D0A-4D72-8334-993386BC25C4}" presName="node" presStyleLbl="node1" presStyleIdx="1" presStyleCnt="4">
        <dgm:presLayoutVars>
          <dgm:bulletEnabled val="1"/>
        </dgm:presLayoutVars>
      </dgm:prSet>
      <dgm:spPr/>
    </dgm:pt>
    <dgm:pt modelId="{F3230760-F423-4CC4-8AA3-BCF1912B4547}" type="pres">
      <dgm:prSet presAssocID="{39A96C4E-093D-48A2-85F9-610DA97E172D}" presName="parTrans" presStyleLbl="bgSibTrans2D1" presStyleIdx="2" presStyleCnt="4"/>
      <dgm:spPr/>
    </dgm:pt>
    <dgm:pt modelId="{8339FD4B-8ADA-4A90-ACEB-342019168258}" type="pres">
      <dgm:prSet presAssocID="{8CE52C9B-D150-428E-BEA5-0DF75C0642F9}" presName="node" presStyleLbl="node1" presStyleIdx="2" presStyleCnt="4">
        <dgm:presLayoutVars>
          <dgm:bulletEnabled val="1"/>
        </dgm:presLayoutVars>
      </dgm:prSet>
      <dgm:spPr/>
    </dgm:pt>
    <dgm:pt modelId="{7F2C2E95-A083-424E-AEF1-84A57146E1D7}" type="pres">
      <dgm:prSet presAssocID="{B4DA9946-169F-4788-B6A7-82205128549B}" presName="parTrans" presStyleLbl="bgSibTrans2D1" presStyleIdx="3" presStyleCnt="4"/>
      <dgm:spPr/>
    </dgm:pt>
    <dgm:pt modelId="{6998147B-7FCE-4695-B41D-4338F333542A}" type="pres">
      <dgm:prSet presAssocID="{A0C1B79D-19C8-4BFE-B605-DD3FB9DA6959}" presName="node" presStyleLbl="node1" presStyleIdx="3" presStyleCnt="4" custRadScaleRad="98529" custRadScaleInc="1266">
        <dgm:presLayoutVars>
          <dgm:bulletEnabled val="1"/>
        </dgm:presLayoutVars>
      </dgm:prSet>
      <dgm:spPr/>
    </dgm:pt>
  </dgm:ptLst>
  <dgm:cxnLst>
    <dgm:cxn modelId="{BF41E516-42A6-4B53-A1C0-010496F3ADFB}" srcId="{38B26CB1-C9C5-449B-A816-BBF7D20E9540}" destId="{A0C1B79D-19C8-4BFE-B605-DD3FB9DA6959}" srcOrd="3" destOrd="0" parTransId="{B4DA9946-169F-4788-B6A7-82205128549B}" sibTransId="{A0325045-706A-4DEC-ADF6-EFEC844954C7}"/>
    <dgm:cxn modelId="{1BB4C527-3220-4F7E-8586-088D0471B023}" type="presOf" srcId="{A3C15AFE-1B0C-4086-956F-8EA10F8EDE5A}" destId="{042FBC3E-8E87-4CCC-96A0-E5396E45A26C}" srcOrd="0" destOrd="0" presId="urn:microsoft.com/office/officeart/2005/8/layout/radial4"/>
    <dgm:cxn modelId="{1BD08D4B-768E-4C7D-8B14-CF76F7666207}" type="presOf" srcId="{B4DA9946-169F-4788-B6A7-82205128549B}" destId="{7F2C2E95-A083-424E-AEF1-84A57146E1D7}" srcOrd="0" destOrd="0" presId="urn:microsoft.com/office/officeart/2005/8/layout/radial4"/>
    <dgm:cxn modelId="{D920EF6D-B2CF-49A4-BCAD-A21886CEEDEC}" srcId="{38B26CB1-C9C5-449B-A816-BBF7D20E9540}" destId="{A42F8AA3-9D0A-4D72-8334-993386BC25C4}" srcOrd="1" destOrd="0" parTransId="{7585B044-6DBD-4BAC-BE6F-38C192F48189}" sibTransId="{C9B0E1E9-8974-4004-83A3-5C4749558EA1}"/>
    <dgm:cxn modelId="{0E1B126F-552C-4C0F-95A1-FC7EA9F7DD00}" type="presOf" srcId="{A0C1B79D-19C8-4BFE-B605-DD3FB9DA6959}" destId="{6998147B-7FCE-4695-B41D-4338F333542A}" srcOrd="0" destOrd="0" presId="urn:microsoft.com/office/officeart/2005/8/layout/radial4"/>
    <dgm:cxn modelId="{E048F557-CDB5-4404-A5CE-919151BFBC74}" type="presOf" srcId="{8CE52C9B-D150-428E-BEA5-0DF75C0642F9}" destId="{8339FD4B-8ADA-4A90-ACEB-342019168258}" srcOrd="0" destOrd="0" presId="urn:microsoft.com/office/officeart/2005/8/layout/radial4"/>
    <dgm:cxn modelId="{6911BB84-DAC1-4DD5-9D78-ADFFDCBFC4B2}" type="presOf" srcId="{39A96C4E-093D-48A2-85F9-610DA97E172D}" destId="{F3230760-F423-4CC4-8AA3-BCF1912B4547}" srcOrd="0" destOrd="0" presId="urn:microsoft.com/office/officeart/2005/8/layout/radial4"/>
    <dgm:cxn modelId="{2F544E87-B8E5-4742-8165-A3A6E741AB30}" srcId="{C8AC3416-9C31-4C46-9093-F831B8303FFC}" destId="{38B26CB1-C9C5-449B-A816-BBF7D20E9540}" srcOrd="0" destOrd="0" parTransId="{D23DD790-820F-450F-BC27-5CE75EC7A489}" sibTransId="{DF38F5A3-3769-4EAC-9BE4-20AE4693D84B}"/>
    <dgm:cxn modelId="{89E33E90-A040-4FE3-9036-80AF5363B2FF}" type="presOf" srcId="{38B26CB1-C9C5-449B-A816-BBF7D20E9540}" destId="{057FF733-D4BB-4011-85FC-206D4D11A710}" srcOrd="0" destOrd="0" presId="urn:microsoft.com/office/officeart/2005/8/layout/radial4"/>
    <dgm:cxn modelId="{733AC8B7-1E90-49F2-972E-4D4EE502B700}" srcId="{38B26CB1-C9C5-449B-A816-BBF7D20E9540}" destId="{8CE52C9B-D150-428E-BEA5-0DF75C0642F9}" srcOrd="2" destOrd="0" parTransId="{39A96C4E-093D-48A2-85F9-610DA97E172D}" sibTransId="{4F881845-1057-43C8-8EB0-28FCDC188DBB}"/>
    <dgm:cxn modelId="{4E8AA3BB-87C7-4AE3-8263-48A07DC8C233}" srcId="{38B26CB1-C9C5-449B-A816-BBF7D20E9540}" destId="{BE9BEDC9-D515-41B0-91A6-84B592C6ABE4}" srcOrd="0" destOrd="0" parTransId="{A3C15AFE-1B0C-4086-956F-8EA10F8EDE5A}" sibTransId="{1F2916F1-50CC-46F0-89CD-2E566259C5E8}"/>
    <dgm:cxn modelId="{84C563E3-234B-4196-9349-E28CE96EEFF3}" type="presOf" srcId="{C8AC3416-9C31-4C46-9093-F831B8303FFC}" destId="{9C97FA43-D1FB-41FD-A838-59D37D0468EF}" srcOrd="0" destOrd="0" presId="urn:microsoft.com/office/officeart/2005/8/layout/radial4"/>
    <dgm:cxn modelId="{798091E4-3426-444A-BD5F-CC4B83CC8BD1}" type="presOf" srcId="{BE9BEDC9-D515-41B0-91A6-84B592C6ABE4}" destId="{DE683611-472E-424C-8F1F-02C02D66C3FF}" srcOrd="0" destOrd="0" presId="urn:microsoft.com/office/officeart/2005/8/layout/radial4"/>
    <dgm:cxn modelId="{D288F7EA-9FB3-42E5-A8A8-4708509CFE45}" type="presOf" srcId="{7585B044-6DBD-4BAC-BE6F-38C192F48189}" destId="{0C83857D-B5DD-4685-93B8-2ACE86B24C18}" srcOrd="0" destOrd="0" presId="urn:microsoft.com/office/officeart/2005/8/layout/radial4"/>
    <dgm:cxn modelId="{B11AFEEB-BC7A-4DD2-8D67-7CD28E56C21C}" type="presOf" srcId="{A42F8AA3-9D0A-4D72-8334-993386BC25C4}" destId="{B16E458D-78B4-44D9-8BAC-95B50CBBEBE1}" srcOrd="0" destOrd="0" presId="urn:microsoft.com/office/officeart/2005/8/layout/radial4"/>
    <dgm:cxn modelId="{8F1AC810-48EF-47EF-BFCE-7608DDD44A18}" type="presParOf" srcId="{9C97FA43-D1FB-41FD-A838-59D37D0468EF}" destId="{057FF733-D4BB-4011-85FC-206D4D11A710}" srcOrd="0" destOrd="0" presId="urn:microsoft.com/office/officeart/2005/8/layout/radial4"/>
    <dgm:cxn modelId="{58820E70-25F5-443D-B6B6-1B87E6B5D994}" type="presParOf" srcId="{9C97FA43-D1FB-41FD-A838-59D37D0468EF}" destId="{042FBC3E-8E87-4CCC-96A0-E5396E45A26C}" srcOrd="1" destOrd="0" presId="urn:microsoft.com/office/officeart/2005/8/layout/radial4"/>
    <dgm:cxn modelId="{8A54923F-1FE7-43F1-B8FB-3CB78E856B8A}" type="presParOf" srcId="{9C97FA43-D1FB-41FD-A838-59D37D0468EF}" destId="{DE683611-472E-424C-8F1F-02C02D66C3FF}" srcOrd="2" destOrd="0" presId="urn:microsoft.com/office/officeart/2005/8/layout/radial4"/>
    <dgm:cxn modelId="{D865B9FB-AAAE-42EB-8A80-2544C7B26344}" type="presParOf" srcId="{9C97FA43-D1FB-41FD-A838-59D37D0468EF}" destId="{0C83857D-B5DD-4685-93B8-2ACE86B24C18}" srcOrd="3" destOrd="0" presId="urn:microsoft.com/office/officeart/2005/8/layout/radial4"/>
    <dgm:cxn modelId="{B7D70115-BED8-4C14-8D92-0A9B6DF40908}" type="presParOf" srcId="{9C97FA43-D1FB-41FD-A838-59D37D0468EF}" destId="{B16E458D-78B4-44D9-8BAC-95B50CBBEBE1}" srcOrd="4" destOrd="0" presId="urn:microsoft.com/office/officeart/2005/8/layout/radial4"/>
    <dgm:cxn modelId="{802FD683-4A4F-4519-814A-D2D3DFE61E86}" type="presParOf" srcId="{9C97FA43-D1FB-41FD-A838-59D37D0468EF}" destId="{F3230760-F423-4CC4-8AA3-BCF1912B4547}" srcOrd="5" destOrd="0" presId="urn:microsoft.com/office/officeart/2005/8/layout/radial4"/>
    <dgm:cxn modelId="{7FAC1B17-F4D9-44F0-BC57-2E6258DEF831}" type="presParOf" srcId="{9C97FA43-D1FB-41FD-A838-59D37D0468EF}" destId="{8339FD4B-8ADA-4A90-ACEB-342019168258}" srcOrd="6" destOrd="0" presId="urn:microsoft.com/office/officeart/2005/8/layout/radial4"/>
    <dgm:cxn modelId="{0EF5C7F2-2486-48F8-8FAD-190199C7B61E}" type="presParOf" srcId="{9C97FA43-D1FB-41FD-A838-59D37D0468EF}" destId="{7F2C2E95-A083-424E-AEF1-84A57146E1D7}" srcOrd="7" destOrd="0" presId="urn:microsoft.com/office/officeart/2005/8/layout/radial4"/>
    <dgm:cxn modelId="{5F93E8CE-4F9B-40BB-A9B1-81300F1DBD40}" type="presParOf" srcId="{9C97FA43-D1FB-41FD-A838-59D37D0468EF}" destId="{6998147B-7FCE-4695-B41D-4338F333542A}" srcOrd="8" destOrd="0" presId="urn:microsoft.com/office/officeart/2005/8/layout/radial4"/>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FEFBE76-08C1-496B-8F26-435A8EC31E79}" type="doc">
      <dgm:prSet loTypeId="urn:microsoft.com/office/officeart/2005/8/layout/radial4" loCatId="relationship" qsTypeId="urn:microsoft.com/office/officeart/2005/8/quickstyle/simple1" qsCatId="simple" csTypeId="urn:microsoft.com/office/officeart/2005/8/colors/colorful2" csCatId="colorful" phldr="1"/>
      <dgm:spPr/>
      <dgm:t>
        <a:bodyPr/>
        <a:lstStyle/>
        <a:p>
          <a:endParaRPr lang="en-US"/>
        </a:p>
      </dgm:t>
    </dgm:pt>
    <dgm:pt modelId="{629224BE-5D5C-40B1-87D8-5D70D59C18E1}">
      <dgm:prSet phldrT="[Text]"/>
      <dgm:spPr/>
      <dgm:t>
        <a:bodyPr/>
        <a:lstStyle/>
        <a:p>
          <a:r>
            <a:rPr lang="en-US" dirty="0"/>
            <a:t>Best Practices</a:t>
          </a:r>
        </a:p>
      </dgm:t>
    </dgm:pt>
    <dgm:pt modelId="{DD6A4BD8-2948-4D79-9ABE-AC3CC6038E67}" type="parTrans" cxnId="{7CDA5874-C463-49B6-8967-F2A0E6034A26}">
      <dgm:prSet/>
      <dgm:spPr/>
      <dgm:t>
        <a:bodyPr/>
        <a:lstStyle/>
        <a:p>
          <a:endParaRPr lang="en-US"/>
        </a:p>
      </dgm:t>
    </dgm:pt>
    <dgm:pt modelId="{692A4465-7D03-4DD8-98B5-209149F33A11}" type="sibTrans" cxnId="{7CDA5874-C463-49B6-8967-F2A0E6034A26}">
      <dgm:prSet/>
      <dgm:spPr/>
      <dgm:t>
        <a:bodyPr/>
        <a:lstStyle/>
        <a:p>
          <a:endParaRPr lang="en-US"/>
        </a:p>
      </dgm:t>
    </dgm:pt>
    <dgm:pt modelId="{4F6EB332-FDC6-459A-B5D9-356F963A8F50}">
      <dgm:prSet phldrT="[Text]"/>
      <dgm:spPr/>
      <dgm:t>
        <a:bodyPr/>
        <a:lstStyle/>
        <a:p>
          <a:r>
            <a:rPr lang="en-US" dirty="0"/>
            <a:t>U.S.</a:t>
          </a:r>
        </a:p>
      </dgm:t>
    </dgm:pt>
    <dgm:pt modelId="{A9E61B5C-41FE-4796-97F3-B2424FEA0678}" type="parTrans" cxnId="{F6B58A77-E82C-4788-8E9E-0E4143B6B19C}">
      <dgm:prSet/>
      <dgm:spPr/>
      <dgm:t>
        <a:bodyPr/>
        <a:lstStyle/>
        <a:p>
          <a:endParaRPr lang="en-US" dirty="0"/>
        </a:p>
      </dgm:t>
    </dgm:pt>
    <dgm:pt modelId="{BFD481CF-8A5C-4162-8EAC-6AAA298068F8}" type="sibTrans" cxnId="{F6B58A77-E82C-4788-8E9E-0E4143B6B19C}">
      <dgm:prSet/>
      <dgm:spPr/>
      <dgm:t>
        <a:bodyPr/>
        <a:lstStyle/>
        <a:p>
          <a:endParaRPr lang="en-US"/>
        </a:p>
      </dgm:t>
    </dgm:pt>
    <dgm:pt modelId="{0C393060-8033-4B50-961E-DA642700C6D9}">
      <dgm:prSet phldrT="[Text]"/>
      <dgm:spPr/>
      <dgm:t>
        <a:bodyPr/>
        <a:lstStyle/>
        <a:p>
          <a:r>
            <a:rPr lang="en-US" dirty="0"/>
            <a:t>Europe</a:t>
          </a:r>
        </a:p>
      </dgm:t>
    </dgm:pt>
    <dgm:pt modelId="{E7C7AB27-7705-48CF-8902-306DBC21A14C}" type="parTrans" cxnId="{6ADEF5B7-9939-46D0-9E96-346A2C6B9297}">
      <dgm:prSet/>
      <dgm:spPr/>
      <dgm:t>
        <a:bodyPr/>
        <a:lstStyle/>
        <a:p>
          <a:endParaRPr lang="en-US" dirty="0"/>
        </a:p>
      </dgm:t>
    </dgm:pt>
    <dgm:pt modelId="{78F48D36-099B-4E4D-98F3-8503D334E503}" type="sibTrans" cxnId="{6ADEF5B7-9939-46D0-9E96-346A2C6B9297}">
      <dgm:prSet/>
      <dgm:spPr/>
      <dgm:t>
        <a:bodyPr/>
        <a:lstStyle/>
        <a:p>
          <a:endParaRPr lang="en-US"/>
        </a:p>
      </dgm:t>
    </dgm:pt>
    <dgm:pt modelId="{C4E206E9-D541-4D31-B5EA-C5ADAD86E624}">
      <dgm:prSet phldrT="[Text]"/>
      <dgm:spPr/>
      <dgm:t>
        <a:bodyPr/>
        <a:lstStyle/>
        <a:p>
          <a:r>
            <a:rPr lang="en-US" dirty="0"/>
            <a:t>Others</a:t>
          </a:r>
        </a:p>
      </dgm:t>
    </dgm:pt>
    <dgm:pt modelId="{6BF3C029-2A25-4975-973F-40DF469BA2D6}" type="parTrans" cxnId="{252E3C61-03ED-45F0-B9D2-7A1E2A2F5E57}">
      <dgm:prSet/>
      <dgm:spPr/>
      <dgm:t>
        <a:bodyPr/>
        <a:lstStyle/>
        <a:p>
          <a:endParaRPr lang="en-US" dirty="0"/>
        </a:p>
      </dgm:t>
    </dgm:pt>
    <dgm:pt modelId="{1430DFA5-E38C-4ACA-8E72-69CE11709BEF}" type="sibTrans" cxnId="{252E3C61-03ED-45F0-B9D2-7A1E2A2F5E57}">
      <dgm:prSet/>
      <dgm:spPr/>
      <dgm:t>
        <a:bodyPr/>
        <a:lstStyle/>
        <a:p>
          <a:endParaRPr lang="en-US"/>
        </a:p>
      </dgm:t>
    </dgm:pt>
    <dgm:pt modelId="{5AC7F36E-A722-4871-A920-46CA18016275}" type="pres">
      <dgm:prSet presAssocID="{0FEFBE76-08C1-496B-8F26-435A8EC31E79}" presName="cycle" presStyleCnt="0">
        <dgm:presLayoutVars>
          <dgm:chMax val="1"/>
          <dgm:dir/>
          <dgm:animLvl val="ctr"/>
          <dgm:resizeHandles val="exact"/>
        </dgm:presLayoutVars>
      </dgm:prSet>
      <dgm:spPr/>
    </dgm:pt>
    <dgm:pt modelId="{FF797FEA-6588-4D12-BB77-34705554F0AB}" type="pres">
      <dgm:prSet presAssocID="{629224BE-5D5C-40B1-87D8-5D70D59C18E1}" presName="centerShape" presStyleLbl="node0" presStyleIdx="0" presStyleCnt="1"/>
      <dgm:spPr/>
    </dgm:pt>
    <dgm:pt modelId="{5CE8CDEE-599E-4403-8CE4-3DA15FA2A097}" type="pres">
      <dgm:prSet presAssocID="{A9E61B5C-41FE-4796-97F3-B2424FEA0678}" presName="parTrans" presStyleLbl="bgSibTrans2D1" presStyleIdx="0" presStyleCnt="3"/>
      <dgm:spPr/>
    </dgm:pt>
    <dgm:pt modelId="{68B1E72F-58B9-4ECA-9B65-821010917BEE}" type="pres">
      <dgm:prSet presAssocID="{4F6EB332-FDC6-459A-B5D9-356F963A8F50}" presName="node" presStyleLbl="node1" presStyleIdx="0" presStyleCnt="3">
        <dgm:presLayoutVars>
          <dgm:bulletEnabled val="1"/>
        </dgm:presLayoutVars>
      </dgm:prSet>
      <dgm:spPr/>
    </dgm:pt>
    <dgm:pt modelId="{68F2F84A-D1FF-4D00-86DD-1121BFF783C3}" type="pres">
      <dgm:prSet presAssocID="{E7C7AB27-7705-48CF-8902-306DBC21A14C}" presName="parTrans" presStyleLbl="bgSibTrans2D1" presStyleIdx="1" presStyleCnt="3"/>
      <dgm:spPr/>
    </dgm:pt>
    <dgm:pt modelId="{17AD35BF-6168-4AE6-A0B4-C6DF8C3E59E2}" type="pres">
      <dgm:prSet presAssocID="{0C393060-8033-4B50-961E-DA642700C6D9}" presName="node" presStyleLbl="node1" presStyleIdx="1" presStyleCnt="3">
        <dgm:presLayoutVars>
          <dgm:bulletEnabled val="1"/>
        </dgm:presLayoutVars>
      </dgm:prSet>
      <dgm:spPr/>
    </dgm:pt>
    <dgm:pt modelId="{AD996A5D-DD54-4011-9FC2-4F558EF855D7}" type="pres">
      <dgm:prSet presAssocID="{6BF3C029-2A25-4975-973F-40DF469BA2D6}" presName="parTrans" presStyleLbl="bgSibTrans2D1" presStyleIdx="2" presStyleCnt="3"/>
      <dgm:spPr/>
    </dgm:pt>
    <dgm:pt modelId="{E436281B-5189-4790-B02E-CBBD7A88E732}" type="pres">
      <dgm:prSet presAssocID="{C4E206E9-D541-4D31-B5EA-C5ADAD86E624}" presName="node" presStyleLbl="node1" presStyleIdx="2" presStyleCnt="3">
        <dgm:presLayoutVars>
          <dgm:bulletEnabled val="1"/>
        </dgm:presLayoutVars>
      </dgm:prSet>
      <dgm:spPr/>
    </dgm:pt>
  </dgm:ptLst>
  <dgm:cxnLst>
    <dgm:cxn modelId="{782B4B06-032F-4488-8093-34A046D055A5}" type="presOf" srcId="{4F6EB332-FDC6-459A-B5D9-356F963A8F50}" destId="{68B1E72F-58B9-4ECA-9B65-821010917BEE}" srcOrd="0" destOrd="0" presId="urn:microsoft.com/office/officeart/2005/8/layout/radial4"/>
    <dgm:cxn modelId="{77463A23-EBE7-4D06-BD9B-0F4477B6AC88}" type="presOf" srcId="{0FEFBE76-08C1-496B-8F26-435A8EC31E79}" destId="{5AC7F36E-A722-4871-A920-46CA18016275}" srcOrd="0" destOrd="0" presId="urn:microsoft.com/office/officeart/2005/8/layout/radial4"/>
    <dgm:cxn modelId="{252E3C61-03ED-45F0-B9D2-7A1E2A2F5E57}" srcId="{629224BE-5D5C-40B1-87D8-5D70D59C18E1}" destId="{C4E206E9-D541-4D31-B5EA-C5ADAD86E624}" srcOrd="2" destOrd="0" parTransId="{6BF3C029-2A25-4975-973F-40DF469BA2D6}" sibTransId="{1430DFA5-E38C-4ACA-8E72-69CE11709BEF}"/>
    <dgm:cxn modelId="{A4B9BB44-BA71-4567-AD84-F4B04FD44B81}" type="presOf" srcId="{E7C7AB27-7705-48CF-8902-306DBC21A14C}" destId="{68F2F84A-D1FF-4D00-86DD-1121BFF783C3}" srcOrd="0" destOrd="0" presId="urn:microsoft.com/office/officeart/2005/8/layout/radial4"/>
    <dgm:cxn modelId="{3C00EA44-21D5-4854-A548-787CC24F44C4}" type="presOf" srcId="{6BF3C029-2A25-4975-973F-40DF469BA2D6}" destId="{AD996A5D-DD54-4011-9FC2-4F558EF855D7}" srcOrd="0" destOrd="0" presId="urn:microsoft.com/office/officeart/2005/8/layout/radial4"/>
    <dgm:cxn modelId="{7CDA5874-C463-49B6-8967-F2A0E6034A26}" srcId="{0FEFBE76-08C1-496B-8F26-435A8EC31E79}" destId="{629224BE-5D5C-40B1-87D8-5D70D59C18E1}" srcOrd="0" destOrd="0" parTransId="{DD6A4BD8-2948-4D79-9ABE-AC3CC6038E67}" sibTransId="{692A4465-7D03-4DD8-98B5-209149F33A11}"/>
    <dgm:cxn modelId="{F6B58A77-E82C-4788-8E9E-0E4143B6B19C}" srcId="{629224BE-5D5C-40B1-87D8-5D70D59C18E1}" destId="{4F6EB332-FDC6-459A-B5D9-356F963A8F50}" srcOrd="0" destOrd="0" parTransId="{A9E61B5C-41FE-4796-97F3-B2424FEA0678}" sibTransId="{BFD481CF-8A5C-4162-8EAC-6AAA298068F8}"/>
    <dgm:cxn modelId="{FAD0BD7A-C1E9-4B33-9959-0ED8EADF7014}" type="presOf" srcId="{A9E61B5C-41FE-4796-97F3-B2424FEA0678}" destId="{5CE8CDEE-599E-4403-8CE4-3DA15FA2A097}" srcOrd="0" destOrd="0" presId="urn:microsoft.com/office/officeart/2005/8/layout/radial4"/>
    <dgm:cxn modelId="{309D5495-0510-48A1-A939-D41BFE0717BB}" type="presOf" srcId="{C4E206E9-D541-4D31-B5EA-C5ADAD86E624}" destId="{E436281B-5189-4790-B02E-CBBD7A88E732}" srcOrd="0" destOrd="0" presId="urn:microsoft.com/office/officeart/2005/8/layout/radial4"/>
    <dgm:cxn modelId="{FEE2BF9E-C26C-4BF6-AE71-2DA3DCA107DA}" type="presOf" srcId="{0C393060-8033-4B50-961E-DA642700C6D9}" destId="{17AD35BF-6168-4AE6-A0B4-C6DF8C3E59E2}" srcOrd="0" destOrd="0" presId="urn:microsoft.com/office/officeart/2005/8/layout/radial4"/>
    <dgm:cxn modelId="{4B9EA7B0-1DE6-48BD-969B-49FF43168ED5}" type="presOf" srcId="{629224BE-5D5C-40B1-87D8-5D70D59C18E1}" destId="{FF797FEA-6588-4D12-BB77-34705554F0AB}" srcOrd="0" destOrd="0" presId="urn:microsoft.com/office/officeart/2005/8/layout/radial4"/>
    <dgm:cxn modelId="{6ADEF5B7-9939-46D0-9E96-346A2C6B9297}" srcId="{629224BE-5D5C-40B1-87D8-5D70D59C18E1}" destId="{0C393060-8033-4B50-961E-DA642700C6D9}" srcOrd="1" destOrd="0" parTransId="{E7C7AB27-7705-48CF-8902-306DBC21A14C}" sibTransId="{78F48D36-099B-4E4D-98F3-8503D334E503}"/>
    <dgm:cxn modelId="{B5DE6CD3-396E-4473-8BEA-33C36D8FE512}" type="presParOf" srcId="{5AC7F36E-A722-4871-A920-46CA18016275}" destId="{FF797FEA-6588-4D12-BB77-34705554F0AB}" srcOrd="0" destOrd="0" presId="urn:microsoft.com/office/officeart/2005/8/layout/radial4"/>
    <dgm:cxn modelId="{B30A8ACF-3735-4D4F-BA4D-0023213FB945}" type="presParOf" srcId="{5AC7F36E-A722-4871-A920-46CA18016275}" destId="{5CE8CDEE-599E-4403-8CE4-3DA15FA2A097}" srcOrd="1" destOrd="0" presId="urn:microsoft.com/office/officeart/2005/8/layout/radial4"/>
    <dgm:cxn modelId="{6D19CA13-3E26-4A26-8006-912A80A2DA91}" type="presParOf" srcId="{5AC7F36E-A722-4871-A920-46CA18016275}" destId="{68B1E72F-58B9-4ECA-9B65-821010917BEE}" srcOrd="2" destOrd="0" presId="urn:microsoft.com/office/officeart/2005/8/layout/radial4"/>
    <dgm:cxn modelId="{C1D8C35F-F59D-49C3-A764-4F885BCBAA76}" type="presParOf" srcId="{5AC7F36E-A722-4871-A920-46CA18016275}" destId="{68F2F84A-D1FF-4D00-86DD-1121BFF783C3}" srcOrd="3" destOrd="0" presId="urn:microsoft.com/office/officeart/2005/8/layout/radial4"/>
    <dgm:cxn modelId="{F4061F5A-7378-4C65-86A4-110C0DC5DE25}" type="presParOf" srcId="{5AC7F36E-A722-4871-A920-46CA18016275}" destId="{17AD35BF-6168-4AE6-A0B4-C6DF8C3E59E2}" srcOrd="4" destOrd="0" presId="urn:microsoft.com/office/officeart/2005/8/layout/radial4"/>
    <dgm:cxn modelId="{FC7795E7-34E1-4044-A76D-E3B4DCF60A3E}" type="presParOf" srcId="{5AC7F36E-A722-4871-A920-46CA18016275}" destId="{AD996A5D-DD54-4011-9FC2-4F558EF855D7}" srcOrd="5" destOrd="0" presId="urn:microsoft.com/office/officeart/2005/8/layout/radial4"/>
    <dgm:cxn modelId="{ADF68895-8A8D-47EA-8469-B62B60026869}" type="presParOf" srcId="{5AC7F36E-A722-4871-A920-46CA18016275}" destId="{E436281B-5189-4790-B02E-CBBD7A88E732}" srcOrd="6" destOrd="0" presId="urn:microsoft.com/office/officeart/2005/8/layout/radial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57FF733-D4BB-4011-85FC-206D4D11A710}">
      <dsp:nvSpPr>
        <dsp:cNvPr id="0" name=""/>
        <dsp:cNvSpPr/>
      </dsp:nvSpPr>
      <dsp:spPr>
        <a:xfrm>
          <a:off x="2195641" y="2172963"/>
          <a:ext cx="1624172" cy="1624172"/>
        </a:xfrm>
        <a:prstGeom prst="ellipse">
          <a:avLst/>
        </a:prstGeom>
        <a:solidFill>
          <a:srgbClr val="C0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1155700">
            <a:lnSpc>
              <a:spcPct val="90000"/>
            </a:lnSpc>
            <a:spcBef>
              <a:spcPct val="0"/>
            </a:spcBef>
            <a:spcAft>
              <a:spcPct val="35000"/>
            </a:spcAft>
            <a:buNone/>
          </a:pPr>
          <a:r>
            <a:rPr lang="en-US" sz="2600" kern="1200" dirty="0"/>
            <a:t>Online Solution</a:t>
          </a:r>
        </a:p>
      </dsp:txBody>
      <dsp:txXfrm>
        <a:off x="2433495" y="2410817"/>
        <a:ext cx="1148464" cy="1148464"/>
      </dsp:txXfrm>
    </dsp:sp>
    <dsp:sp modelId="{042FBC3E-8E87-4CCC-96A0-E5396E45A26C}">
      <dsp:nvSpPr>
        <dsp:cNvPr id="0" name=""/>
        <dsp:cNvSpPr/>
      </dsp:nvSpPr>
      <dsp:spPr>
        <a:xfrm rot="11700000">
          <a:off x="748310" y="2338358"/>
          <a:ext cx="1419389" cy="462889"/>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DE683611-472E-424C-8F1F-02C02D66C3FF}">
      <dsp:nvSpPr>
        <dsp:cNvPr id="0" name=""/>
        <dsp:cNvSpPr/>
      </dsp:nvSpPr>
      <dsp:spPr>
        <a:xfrm>
          <a:off x="1010" y="1768934"/>
          <a:ext cx="1542964" cy="1234371"/>
        </a:xfrm>
        <a:prstGeom prst="roundRect">
          <a:avLst>
            <a:gd name="adj" fmla="val 10000"/>
          </a:avLst>
        </a:prstGeom>
        <a:solidFill>
          <a:srgbClr val="00206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3815" tIns="43815" rIns="43815" bIns="43815" numCol="1" spcCol="1270" anchor="ctr" anchorCtr="0">
          <a:noAutofit/>
        </a:bodyPr>
        <a:lstStyle/>
        <a:p>
          <a:pPr marL="0" lvl="0" indent="0" algn="ctr" defTabSz="1022350">
            <a:lnSpc>
              <a:spcPct val="90000"/>
            </a:lnSpc>
            <a:spcBef>
              <a:spcPct val="0"/>
            </a:spcBef>
            <a:spcAft>
              <a:spcPct val="35000"/>
            </a:spcAft>
            <a:buNone/>
          </a:pPr>
          <a:r>
            <a:rPr lang="en-US" sz="2300" kern="1200" dirty="0"/>
            <a:t>Centralized Purchasing Agency</a:t>
          </a:r>
        </a:p>
      </dsp:txBody>
      <dsp:txXfrm>
        <a:off x="37163" y="1805087"/>
        <a:ext cx="1470658" cy="1162065"/>
      </dsp:txXfrm>
    </dsp:sp>
    <dsp:sp modelId="{0C83857D-B5DD-4685-93B8-2ACE86B24C18}">
      <dsp:nvSpPr>
        <dsp:cNvPr id="0" name=""/>
        <dsp:cNvSpPr/>
      </dsp:nvSpPr>
      <dsp:spPr>
        <a:xfrm rot="14700000">
          <a:off x="1619987" y="1299533"/>
          <a:ext cx="1419389" cy="462889"/>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B16E458D-78B4-44D9-8BAC-95B50CBBEBE1}">
      <dsp:nvSpPr>
        <dsp:cNvPr id="0" name=""/>
        <dsp:cNvSpPr/>
      </dsp:nvSpPr>
      <dsp:spPr>
        <a:xfrm>
          <a:off x="1258270" y="270590"/>
          <a:ext cx="1542964" cy="1234371"/>
        </a:xfrm>
        <a:prstGeom prst="roundRect">
          <a:avLst>
            <a:gd name="adj" fmla="val 10000"/>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3815" tIns="43815" rIns="43815" bIns="43815" numCol="1" spcCol="1270" anchor="ctr" anchorCtr="0">
          <a:noAutofit/>
        </a:bodyPr>
        <a:lstStyle/>
        <a:p>
          <a:pPr marL="0" lvl="0" indent="0" algn="ctr" defTabSz="1022350">
            <a:lnSpc>
              <a:spcPct val="90000"/>
            </a:lnSpc>
            <a:spcBef>
              <a:spcPct val="0"/>
            </a:spcBef>
            <a:spcAft>
              <a:spcPct val="35000"/>
            </a:spcAft>
            <a:buNone/>
          </a:pPr>
          <a:r>
            <a:rPr lang="en-US" sz="2300" kern="1200" dirty="0"/>
            <a:t>Market</a:t>
          </a:r>
        </a:p>
      </dsp:txBody>
      <dsp:txXfrm>
        <a:off x="1294423" y="306743"/>
        <a:ext cx="1470658" cy="1162065"/>
      </dsp:txXfrm>
    </dsp:sp>
    <dsp:sp modelId="{F3230760-F423-4CC4-8AA3-BCF1912B4547}">
      <dsp:nvSpPr>
        <dsp:cNvPr id="0" name=""/>
        <dsp:cNvSpPr/>
      </dsp:nvSpPr>
      <dsp:spPr>
        <a:xfrm rot="17700000">
          <a:off x="2976077" y="1299533"/>
          <a:ext cx="1419389" cy="462889"/>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339FD4B-8ADA-4A90-ACEB-342019168258}">
      <dsp:nvSpPr>
        <dsp:cNvPr id="0" name=""/>
        <dsp:cNvSpPr/>
      </dsp:nvSpPr>
      <dsp:spPr>
        <a:xfrm>
          <a:off x="3214220" y="270590"/>
          <a:ext cx="1542964" cy="1234371"/>
        </a:xfrm>
        <a:prstGeom prst="roundRect">
          <a:avLst>
            <a:gd name="adj" fmla="val 10000"/>
          </a:avLst>
        </a:prstGeom>
        <a:solidFill>
          <a:srgbClr val="00B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3815" tIns="43815" rIns="43815" bIns="43815" numCol="1" spcCol="1270" anchor="ctr" anchorCtr="0">
          <a:noAutofit/>
        </a:bodyPr>
        <a:lstStyle/>
        <a:p>
          <a:pPr marL="0" lvl="0" indent="0" algn="ctr" defTabSz="1022350">
            <a:lnSpc>
              <a:spcPct val="90000"/>
            </a:lnSpc>
            <a:spcBef>
              <a:spcPct val="0"/>
            </a:spcBef>
            <a:spcAft>
              <a:spcPct val="35000"/>
            </a:spcAft>
            <a:buNone/>
          </a:pPr>
          <a:r>
            <a:rPr lang="en-US" sz="2300" kern="1200" dirty="0"/>
            <a:t>Congress</a:t>
          </a:r>
        </a:p>
      </dsp:txBody>
      <dsp:txXfrm>
        <a:off x="3250373" y="306743"/>
        <a:ext cx="1470658" cy="1162065"/>
      </dsp:txXfrm>
    </dsp:sp>
    <dsp:sp modelId="{7F2C2E95-A083-424E-AEF1-84A57146E1D7}">
      <dsp:nvSpPr>
        <dsp:cNvPr id="0" name=""/>
        <dsp:cNvSpPr/>
      </dsp:nvSpPr>
      <dsp:spPr>
        <a:xfrm rot="20734182">
          <a:off x="3850502" y="2358262"/>
          <a:ext cx="1387221" cy="462889"/>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6998147B-7FCE-4695-B41D-4338F333542A}">
      <dsp:nvSpPr>
        <dsp:cNvPr id="0" name=""/>
        <dsp:cNvSpPr/>
      </dsp:nvSpPr>
      <dsp:spPr>
        <a:xfrm>
          <a:off x="4444358" y="1799672"/>
          <a:ext cx="1542964" cy="1234371"/>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3815" tIns="43815" rIns="43815" bIns="43815" numCol="1" spcCol="1270" anchor="ctr" anchorCtr="0">
          <a:noAutofit/>
        </a:bodyPr>
        <a:lstStyle/>
        <a:p>
          <a:pPr marL="0" lvl="0" indent="0" algn="ctr" defTabSz="1022350">
            <a:lnSpc>
              <a:spcPct val="90000"/>
            </a:lnSpc>
            <a:spcBef>
              <a:spcPct val="0"/>
            </a:spcBef>
            <a:spcAft>
              <a:spcPct val="35000"/>
            </a:spcAft>
            <a:buNone/>
          </a:pPr>
          <a:r>
            <a:rPr lang="en-US" sz="2300" kern="1200" dirty="0"/>
            <a:t>Users</a:t>
          </a:r>
        </a:p>
      </dsp:txBody>
      <dsp:txXfrm>
        <a:off x="4480511" y="1835825"/>
        <a:ext cx="1470658" cy="116206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57FF733-D4BB-4011-85FC-206D4D11A710}">
      <dsp:nvSpPr>
        <dsp:cNvPr id="0" name=""/>
        <dsp:cNvSpPr/>
      </dsp:nvSpPr>
      <dsp:spPr>
        <a:xfrm>
          <a:off x="2195641" y="2172963"/>
          <a:ext cx="1624172" cy="1624172"/>
        </a:xfrm>
        <a:prstGeom prst="ellipse">
          <a:avLst/>
        </a:prstGeom>
        <a:solidFill>
          <a:srgbClr val="C0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1155700">
            <a:lnSpc>
              <a:spcPct val="90000"/>
            </a:lnSpc>
            <a:spcBef>
              <a:spcPct val="0"/>
            </a:spcBef>
            <a:spcAft>
              <a:spcPct val="35000"/>
            </a:spcAft>
            <a:buNone/>
          </a:pPr>
          <a:r>
            <a:rPr lang="en-US" sz="2600" kern="1200" dirty="0"/>
            <a:t>Online Solution</a:t>
          </a:r>
        </a:p>
      </dsp:txBody>
      <dsp:txXfrm>
        <a:off x="2433495" y="2410817"/>
        <a:ext cx="1148464" cy="1148464"/>
      </dsp:txXfrm>
    </dsp:sp>
    <dsp:sp modelId="{042FBC3E-8E87-4CCC-96A0-E5396E45A26C}">
      <dsp:nvSpPr>
        <dsp:cNvPr id="0" name=""/>
        <dsp:cNvSpPr/>
      </dsp:nvSpPr>
      <dsp:spPr>
        <a:xfrm rot="11700000">
          <a:off x="748310" y="2338358"/>
          <a:ext cx="1419389" cy="462889"/>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DE683611-472E-424C-8F1F-02C02D66C3FF}">
      <dsp:nvSpPr>
        <dsp:cNvPr id="0" name=""/>
        <dsp:cNvSpPr/>
      </dsp:nvSpPr>
      <dsp:spPr>
        <a:xfrm>
          <a:off x="1010" y="1768934"/>
          <a:ext cx="1542964" cy="1234371"/>
        </a:xfrm>
        <a:prstGeom prst="roundRect">
          <a:avLst>
            <a:gd name="adj" fmla="val 10000"/>
          </a:avLst>
        </a:prstGeom>
        <a:solidFill>
          <a:srgbClr val="00206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3815" tIns="43815" rIns="43815" bIns="43815" numCol="1" spcCol="1270" anchor="ctr" anchorCtr="0">
          <a:noAutofit/>
        </a:bodyPr>
        <a:lstStyle/>
        <a:p>
          <a:pPr marL="0" lvl="0" indent="0" algn="ctr" defTabSz="1022350">
            <a:lnSpc>
              <a:spcPct val="90000"/>
            </a:lnSpc>
            <a:spcBef>
              <a:spcPct val="0"/>
            </a:spcBef>
            <a:spcAft>
              <a:spcPct val="35000"/>
            </a:spcAft>
            <a:buNone/>
          </a:pPr>
          <a:r>
            <a:rPr lang="en-US" sz="2300" kern="1200" dirty="0"/>
            <a:t>Centralized Purchasing Agency</a:t>
          </a:r>
        </a:p>
      </dsp:txBody>
      <dsp:txXfrm>
        <a:off x="37163" y="1805087"/>
        <a:ext cx="1470658" cy="1162065"/>
      </dsp:txXfrm>
    </dsp:sp>
    <dsp:sp modelId="{0C83857D-B5DD-4685-93B8-2ACE86B24C18}">
      <dsp:nvSpPr>
        <dsp:cNvPr id="0" name=""/>
        <dsp:cNvSpPr/>
      </dsp:nvSpPr>
      <dsp:spPr>
        <a:xfrm rot="14700000">
          <a:off x="1619987" y="1299533"/>
          <a:ext cx="1419389" cy="462889"/>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B16E458D-78B4-44D9-8BAC-95B50CBBEBE1}">
      <dsp:nvSpPr>
        <dsp:cNvPr id="0" name=""/>
        <dsp:cNvSpPr/>
      </dsp:nvSpPr>
      <dsp:spPr>
        <a:xfrm>
          <a:off x="1258270" y="270590"/>
          <a:ext cx="1542964" cy="1234371"/>
        </a:xfrm>
        <a:prstGeom prst="roundRect">
          <a:avLst>
            <a:gd name="adj" fmla="val 10000"/>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3815" tIns="43815" rIns="43815" bIns="43815" numCol="1" spcCol="1270" anchor="ctr" anchorCtr="0">
          <a:noAutofit/>
        </a:bodyPr>
        <a:lstStyle/>
        <a:p>
          <a:pPr marL="0" lvl="0" indent="0" algn="ctr" defTabSz="1022350">
            <a:lnSpc>
              <a:spcPct val="90000"/>
            </a:lnSpc>
            <a:spcBef>
              <a:spcPct val="0"/>
            </a:spcBef>
            <a:spcAft>
              <a:spcPct val="35000"/>
            </a:spcAft>
            <a:buNone/>
          </a:pPr>
          <a:r>
            <a:rPr lang="en-US" sz="2300" kern="1200" dirty="0"/>
            <a:t>Market</a:t>
          </a:r>
        </a:p>
      </dsp:txBody>
      <dsp:txXfrm>
        <a:off x="1294423" y="306743"/>
        <a:ext cx="1470658" cy="1162065"/>
      </dsp:txXfrm>
    </dsp:sp>
    <dsp:sp modelId="{F3230760-F423-4CC4-8AA3-BCF1912B4547}">
      <dsp:nvSpPr>
        <dsp:cNvPr id="0" name=""/>
        <dsp:cNvSpPr/>
      </dsp:nvSpPr>
      <dsp:spPr>
        <a:xfrm rot="17700000">
          <a:off x="2976077" y="1299533"/>
          <a:ext cx="1419389" cy="462889"/>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339FD4B-8ADA-4A90-ACEB-342019168258}">
      <dsp:nvSpPr>
        <dsp:cNvPr id="0" name=""/>
        <dsp:cNvSpPr/>
      </dsp:nvSpPr>
      <dsp:spPr>
        <a:xfrm>
          <a:off x="3214220" y="270590"/>
          <a:ext cx="1542964" cy="1234371"/>
        </a:xfrm>
        <a:prstGeom prst="roundRect">
          <a:avLst>
            <a:gd name="adj" fmla="val 10000"/>
          </a:avLst>
        </a:prstGeom>
        <a:solidFill>
          <a:srgbClr val="00B05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3815" tIns="43815" rIns="43815" bIns="43815" numCol="1" spcCol="1270" anchor="ctr" anchorCtr="0">
          <a:noAutofit/>
        </a:bodyPr>
        <a:lstStyle/>
        <a:p>
          <a:pPr marL="0" lvl="0" indent="0" algn="ctr" defTabSz="1022350">
            <a:lnSpc>
              <a:spcPct val="90000"/>
            </a:lnSpc>
            <a:spcBef>
              <a:spcPct val="0"/>
            </a:spcBef>
            <a:spcAft>
              <a:spcPct val="35000"/>
            </a:spcAft>
            <a:buNone/>
          </a:pPr>
          <a:r>
            <a:rPr lang="en-US" sz="2300" kern="1200" dirty="0"/>
            <a:t>Congress</a:t>
          </a:r>
        </a:p>
      </dsp:txBody>
      <dsp:txXfrm>
        <a:off x="3250373" y="306743"/>
        <a:ext cx="1470658" cy="1162065"/>
      </dsp:txXfrm>
    </dsp:sp>
    <dsp:sp modelId="{7F2C2E95-A083-424E-AEF1-84A57146E1D7}">
      <dsp:nvSpPr>
        <dsp:cNvPr id="0" name=""/>
        <dsp:cNvSpPr/>
      </dsp:nvSpPr>
      <dsp:spPr>
        <a:xfrm rot="20734182">
          <a:off x="3850502" y="2358262"/>
          <a:ext cx="1387221" cy="462889"/>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6998147B-7FCE-4695-B41D-4338F333542A}">
      <dsp:nvSpPr>
        <dsp:cNvPr id="0" name=""/>
        <dsp:cNvSpPr/>
      </dsp:nvSpPr>
      <dsp:spPr>
        <a:xfrm>
          <a:off x="4444358" y="1799672"/>
          <a:ext cx="1542964" cy="1234371"/>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3815" tIns="43815" rIns="43815" bIns="43815" numCol="1" spcCol="1270" anchor="ctr" anchorCtr="0">
          <a:noAutofit/>
        </a:bodyPr>
        <a:lstStyle/>
        <a:p>
          <a:pPr marL="0" lvl="0" indent="0" algn="ctr" defTabSz="1022350">
            <a:lnSpc>
              <a:spcPct val="90000"/>
            </a:lnSpc>
            <a:spcBef>
              <a:spcPct val="0"/>
            </a:spcBef>
            <a:spcAft>
              <a:spcPct val="35000"/>
            </a:spcAft>
            <a:buNone/>
          </a:pPr>
          <a:r>
            <a:rPr lang="en-US" sz="2300" kern="1200" dirty="0"/>
            <a:t>Users</a:t>
          </a:r>
        </a:p>
      </dsp:txBody>
      <dsp:txXfrm>
        <a:off x="4480511" y="1835825"/>
        <a:ext cx="1470658" cy="116206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F797FEA-6588-4D12-BB77-34705554F0AB}">
      <dsp:nvSpPr>
        <dsp:cNvPr id="0" name=""/>
        <dsp:cNvSpPr/>
      </dsp:nvSpPr>
      <dsp:spPr>
        <a:xfrm>
          <a:off x="1879984" y="2508331"/>
          <a:ext cx="1734050" cy="1734050"/>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8415" tIns="18415" rIns="18415" bIns="18415" numCol="1" spcCol="1270" anchor="ctr" anchorCtr="0">
          <a:noAutofit/>
        </a:bodyPr>
        <a:lstStyle/>
        <a:p>
          <a:pPr marL="0" lvl="0" indent="0" algn="ctr" defTabSz="1289050">
            <a:lnSpc>
              <a:spcPct val="90000"/>
            </a:lnSpc>
            <a:spcBef>
              <a:spcPct val="0"/>
            </a:spcBef>
            <a:spcAft>
              <a:spcPct val="35000"/>
            </a:spcAft>
            <a:buNone/>
          </a:pPr>
          <a:r>
            <a:rPr lang="en-US" sz="2900" kern="1200" dirty="0"/>
            <a:t>Best Practices</a:t>
          </a:r>
        </a:p>
      </dsp:txBody>
      <dsp:txXfrm>
        <a:off x="2133930" y="2762277"/>
        <a:ext cx="1226158" cy="1226158"/>
      </dsp:txXfrm>
    </dsp:sp>
    <dsp:sp modelId="{5CE8CDEE-599E-4403-8CE4-3DA15FA2A097}">
      <dsp:nvSpPr>
        <dsp:cNvPr id="0" name=""/>
        <dsp:cNvSpPr/>
      </dsp:nvSpPr>
      <dsp:spPr>
        <a:xfrm rot="12900000">
          <a:off x="700287" y="2183932"/>
          <a:ext cx="1396182" cy="494204"/>
        </a:xfrm>
        <a:prstGeom prst="lef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68B1E72F-58B9-4ECA-9B65-821010917BEE}">
      <dsp:nvSpPr>
        <dsp:cNvPr id="0" name=""/>
        <dsp:cNvSpPr/>
      </dsp:nvSpPr>
      <dsp:spPr>
        <a:xfrm>
          <a:off x="2861" y="1371686"/>
          <a:ext cx="1647347" cy="1317878"/>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1866900">
            <a:lnSpc>
              <a:spcPct val="90000"/>
            </a:lnSpc>
            <a:spcBef>
              <a:spcPct val="0"/>
            </a:spcBef>
            <a:spcAft>
              <a:spcPct val="35000"/>
            </a:spcAft>
            <a:buNone/>
          </a:pPr>
          <a:r>
            <a:rPr lang="en-US" sz="4200" kern="1200" dirty="0"/>
            <a:t>U.S.</a:t>
          </a:r>
        </a:p>
      </dsp:txBody>
      <dsp:txXfrm>
        <a:off x="41460" y="1410285"/>
        <a:ext cx="1570149" cy="1240680"/>
      </dsp:txXfrm>
    </dsp:sp>
    <dsp:sp modelId="{68F2F84A-D1FF-4D00-86DD-1121BFF783C3}">
      <dsp:nvSpPr>
        <dsp:cNvPr id="0" name=""/>
        <dsp:cNvSpPr/>
      </dsp:nvSpPr>
      <dsp:spPr>
        <a:xfrm rot="16200000">
          <a:off x="2048918" y="1481879"/>
          <a:ext cx="1396182" cy="494204"/>
        </a:xfrm>
        <a:prstGeom prst="leftArrow">
          <a:avLst>
            <a:gd name="adj1" fmla="val 60000"/>
            <a:gd name="adj2" fmla="val 50000"/>
          </a:avLst>
        </a:prstGeom>
        <a:solidFill>
          <a:schemeClr val="accent2">
            <a:hueOff val="953895"/>
            <a:satOff val="-21764"/>
            <a:lumOff val="8039"/>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17AD35BF-6168-4AE6-A0B4-C6DF8C3E59E2}">
      <dsp:nvSpPr>
        <dsp:cNvPr id="0" name=""/>
        <dsp:cNvSpPr/>
      </dsp:nvSpPr>
      <dsp:spPr>
        <a:xfrm>
          <a:off x="1923336" y="371951"/>
          <a:ext cx="1647347" cy="1317878"/>
        </a:xfrm>
        <a:prstGeom prst="roundRect">
          <a:avLst>
            <a:gd name="adj" fmla="val 10000"/>
          </a:avLst>
        </a:prstGeom>
        <a:solidFill>
          <a:schemeClr val="accent2">
            <a:hueOff val="953895"/>
            <a:satOff val="-21764"/>
            <a:lumOff val="8039"/>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1866900">
            <a:lnSpc>
              <a:spcPct val="90000"/>
            </a:lnSpc>
            <a:spcBef>
              <a:spcPct val="0"/>
            </a:spcBef>
            <a:spcAft>
              <a:spcPct val="35000"/>
            </a:spcAft>
            <a:buNone/>
          </a:pPr>
          <a:r>
            <a:rPr lang="en-US" sz="4200" kern="1200" dirty="0"/>
            <a:t>Europe</a:t>
          </a:r>
        </a:p>
      </dsp:txBody>
      <dsp:txXfrm>
        <a:off x="1961935" y="410550"/>
        <a:ext cx="1570149" cy="1240680"/>
      </dsp:txXfrm>
    </dsp:sp>
    <dsp:sp modelId="{AD996A5D-DD54-4011-9FC2-4F558EF855D7}">
      <dsp:nvSpPr>
        <dsp:cNvPr id="0" name=""/>
        <dsp:cNvSpPr/>
      </dsp:nvSpPr>
      <dsp:spPr>
        <a:xfrm rot="19500000">
          <a:off x="3397550" y="2183932"/>
          <a:ext cx="1396182" cy="494204"/>
        </a:xfrm>
        <a:prstGeom prst="leftArrow">
          <a:avLst>
            <a:gd name="adj1" fmla="val 60000"/>
            <a:gd name="adj2" fmla="val 50000"/>
          </a:avLst>
        </a:prstGeom>
        <a:solidFill>
          <a:schemeClr val="accent2">
            <a:hueOff val="1907789"/>
            <a:satOff val="-43528"/>
            <a:lumOff val="16079"/>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E436281B-5189-4790-B02E-CBBD7A88E732}">
      <dsp:nvSpPr>
        <dsp:cNvPr id="0" name=""/>
        <dsp:cNvSpPr/>
      </dsp:nvSpPr>
      <dsp:spPr>
        <a:xfrm>
          <a:off x="3843810" y="1371686"/>
          <a:ext cx="1647347" cy="1317878"/>
        </a:xfrm>
        <a:prstGeom prst="roundRect">
          <a:avLst>
            <a:gd name="adj" fmla="val 10000"/>
          </a:avLst>
        </a:prstGeom>
        <a:solidFill>
          <a:schemeClr val="accent2">
            <a:hueOff val="1907789"/>
            <a:satOff val="-43528"/>
            <a:lumOff val="16079"/>
            <a:alphaOff val="0"/>
          </a:schemeClr>
        </a:solidFill>
        <a:ln w="127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1866900">
            <a:lnSpc>
              <a:spcPct val="90000"/>
            </a:lnSpc>
            <a:spcBef>
              <a:spcPct val="0"/>
            </a:spcBef>
            <a:spcAft>
              <a:spcPct val="35000"/>
            </a:spcAft>
            <a:buNone/>
          </a:pPr>
          <a:r>
            <a:rPr lang="en-US" sz="4200" kern="1200" dirty="0"/>
            <a:t>Others</a:t>
          </a:r>
        </a:p>
      </dsp:txBody>
      <dsp:txXfrm>
        <a:off x="3882409" y="1410285"/>
        <a:ext cx="1570149" cy="1240680"/>
      </dsp:txXfrm>
    </dsp:sp>
  </dsp:spTree>
</dsp:drawing>
</file>

<file path=ppt/diagrams/layout1.xml><?xml version="1.0" encoding="utf-8"?>
<dgm:layoutDef xmlns:dgm="http://schemas.openxmlformats.org/drawingml/2006/diagram" xmlns:a="http://schemas.openxmlformats.org/drawingml/2006/main" uniqueId="urn:microsoft.com/office/officeart/2005/8/layout/radial4">
  <dgm:title val=""/>
  <dgm:desc val=""/>
  <dgm:catLst>
    <dgm:cat type="relationship" pri="19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radial4">
  <dgm:title val=""/>
  <dgm:desc val=""/>
  <dgm:catLst>
    <dgm:cat type="relationship" pri="19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radial4">
  <dgm:title val=""/>
  <dgm:desc val=""/>
  <dgm:catLst>
    <dgm:cat type="relationship" pri="19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image" Target="../media/image5.png"/></Relationships>
</file>

<file path=ppt/drawings/_rels/vmlDrawing2.v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image" Target="../media/image5.png"/></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png"/></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png"/></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3547FF3-80D5-41C9-B3C2-B41CD924A797}" type="datetimeFigureOut">
              <a:rPr lang="en-US" smtClean="0"/>
              <a:t>1/30/2020</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905DEE1-FEA6-410F-86C6-D5B36CF08A19}" type="slidenum">
              <a:rPr lang="en-US" smtClean="0"/>
              <a:t>‹#›</a:t>
            </a:fld>
            <a:endParaRPr lang="en-US"/>
          </a:p>
        </p:txBody>
      </p:sp>
    </p:spTree>
    <p:extLst>
      <p:ext uri="{BB962C8B-B14F-4D97-AF65-F5344CB8AC3E}">
        <p14:creationId xmlns:p14="http://schemas.microsoft.com/office/powerpoint/2010/main" val="297274163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Slide Image Placeholder 1">
            <a:extLst>
              <a:ext uri="{FF2B5EF4-FFF2-40B4-BE49-F238E27FC236}">
                <a16:creationId xmlns:a16="http://schemas.microsoft.com/office/drawing/2014/main" id="{66B390A9-E2E1-4190-9BAF-3DD1C760B783}"/>
              </a:ext>
            </a:extLst>
          </p:cNvPr>
          <p:cNvSpPr>
            <a:spLocks noGrp="1" noRot="1" noChangeAspect="1" noTextEdit="1"/>
          </p:cNvSpPr>
          <p:nvPr>
            <p:ph type="sldImg"/>
          </p:nvPr>
        </p:nvSpPr>
        <p:spPr bwMode="auto">
          <a:xfrm>
            <a:off x="1371600" y="1143000"/>
            <a:ext cx="4114800" cy="30861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1315" name="Notes Placeholder 2">
            <a:extLst>
              <a:ext uri="{FF2B5EF4-FFF2-40B4-BE49-F238E27FC236}">
                <a16:creationId xmlns:a16="http://schemas.microsoft.com/office/drawing/2014/main" id="{C777B4E8-9047-4333-AB98-339501FFBAAC}"/>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141316" name="Slide Number Placeholder 3">
            <a:extLst>
              <a:ext uri="{FF2B5EF4-FFF2-40B4-BE49-F238E27FC236}">
                <a16:creationId xmlns:a16="http://schemas.microsoft.com/office/drawing/2014/main" id="{66286B02-1749-4C7A-B7EE-B00748D254C0}"/>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9AF8D028-5A28-4FB9-BB27-961CC9458664}" type="slidenum">
              <a:rPr kumimoji="0" lang="en-US"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a:t>
            </a:fld>
            <a:endParaRPr kumimoji="0" lang="en-US"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25979647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3C87163-8E75-473C-BF98-46C913B2BB93}"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29767172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7938" name="Slide Image Placeholder 1">
            <a:extLst>
              <a:ext uri="{FF2B5EF4-FFF2-40B4-BE49-F238E27FC236}">
                <a16:creationId xmlns:a16="http://schemas.microsoft.com/office/drawing/2014/main" id="{6E3B4251-BE0E-4B1C-B2EB-41B7D52ECA15}"/>
              </a:ext>
            </a:extLst>
          </p:cNvPr>
          <p:cNvSpPr>
            <a:spLocks noGrp="1" noRot="1" noChangeAspect="1" noTextEdit="1"/>
          </p:cNvSpPr>
          <p:nvPr>
            <p:ph type="sldImg"/>
          </p:nvPr>
        </p:nvSpPr>
        <p:spPr bwMode="auto">
          <a:xfrm>
            <a:off x="1371600" y="1143000"/>
            <a:ext cx="4114800" cy="30861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7939" name="Notes Placeholder 2">
            <a:extLst>
              <a:ext uri="{FF2B5EF4-FFF2-40B4-BE49-F238E27FC236}">
                <a16:creationId xmlns:a16="http://schemas.microsoft.com/office/drawing/2014/main" id="{9A107FDD-628E-4F5C-9532-F884263D0F9C}"/>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a:t>https://publications.europa.eu/en/publication-detail/-/publication/5c148423-39e2-11e7-a08e-01aa75ed71a1/language-en</a:t>
            </a:r>
          </a:p>
          <a:p>
            <a:pPr>
              <a:spcBef>
                <a:spcPct val="0"/>
              </a:spcBef>
            </a:pPr>
            <a:endParaRPr lang="en-US" altLang="en-US"/>
          </a:p>
        </p:txBody>
      </p:sp>
      <p:sp>
        <p:nvSpPr>
          <p:cNvPr id="167940" name="Slide Number Placeholder 3">
            <a:extLst>
              <a:ext uri="{FF2B5EF4-FFF2-40B4-BE49-F238E27FC236}">
                <a16:creationId xmlns:a16="http://schemas.microsoft.com/office/drawing/2014/main" id="{7B31F3B4-2DD3-4781-8D35-6065CA410447}"/>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Perpetua" panose="02020502060401020303" pitchFamily="18" charset="0"/>
              </a:defRPr>
            </a:lvl1pPr>
            <a:lvl2pPr marL="741363" indent="-284163">
              <a:defRPr>
                <a:solidFill>
                  <a:schemeClr val="tx1"/>
                </a:solidFill>
                <a:latin typeface="Perpetua" panose="02020502060401020303" pitchFamily="18" charset="0"/>
              </a:defRPr>
            </a:lvl2pPr>
            <a:lvl3pPr marL="1141413" indent="-227013">
              <a:defRPr>
                <a:solidFill>
                  <a:schemeClr val="tx1"/>
                </a:solidFill>
                <a:latin typeface="Perpetua" panose="02020502060401020303" pitchFamily="18" charset="0"/>
              </a:defRPr>
            </a:lvl3pPr>
            <a:lvl4pPr marL="1598613" indent="-227013">
              <a:defRPr>
                <a:solidFill>
                  <a:schemeClr val="tx1"/>
                </a:solidFill>
                <a:latin typeface="Perpetua" panose="02020502060401020303" pitchFamily="18" charset="0"/>
              </a:defRPr>
            </a:lvl4pPr>
            <a:lvl5pPr marL="2055813" indent="-227013">
              <a:defRPr>
                <a:solidFill>
                  <a:schemeClr val="tx1"/>
                </a:solidFill>
                <a:latin typeface="Perpetua" panose="02020502060401020303" pitchFamily="18" charset="0"/>
              </a:defRPr>
            </a:lvl5pPr>
            <a:lvl6pPr marL="2513013" indent="-227013" fontAlgn="base">
              <a:spcBef>
                <a:spcPct val="0"/>
              </a:spcBef>
              <a:spcAft>
                <a:spcPct val="0"/>
              </a:spcAft>
              <a:defRPr>
                <a:solidFill>
                  <a:schemeClr val="tx1"/>
                </a:solidFill>
                <a:latin typeface="Perpetua" panose="02020502060401020303" pitchFamily="18" charset="0"/>
              </a:defRPr>
            </a:lvl6pPr>
            <a:lvl7pPr marL="2970213" indent="-227013" fontAlgn="base">
              <a:spcBef>
                <a:spcPct val="0"/>
              </a:spcBef>
              <a:spcAft>
                <a:spcPct val="0"/>
              </a:spcAft>
              <a:defRPr>
                <a:solidFill>
                  <a:schemeClr val="tx1"/>
                </a:solidFill>
                <a:latin typeface="Perpetua" panose="02020502060401020303" pitchFamily="18" charset="0"/>
              </a:defRPr>
            </a:lvl7pPr>
            <a:lvl8pPr marL="3427413" indent="-227013" fontAlgn="base">
              <a:spcBef>
                <a:spcPct val="0"/>
              </a:spcBef>
              <a:spcAft>
                <a:spcPct val="0"/>
              </a:spcAft>
              <a:defRPr>
                <a:solidFill>
                  <a:schemeClr val="tx1"/>
                </a:solidFill>
                <a:latin typeface="Perpetua" panose="02020502060401020303" pitchFamily="18" charset="0"/>
              </a:defRPr>
            </a:lvl8pPr>
            <a:lvl9pPr marL="3884613" indent="-227013" fontAlgn="base">
              <a:spcBef>
                <a:spcPct val="0"/>
              </a:spcBef>
              <a:spcAft>
                <a:spcPct val="0"/>
              </a:spcAft>
              <a:defRPr>
                <a:solidFill>
                  <a:schemeClr val="tx1"/>
                </a:solidFill>
                <a:latin typeface="Perpetua" panose="02020502060401020303" pitchFamily="18"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7AF07078-87DB-429E-9AAD-55D2672FAF10}" type="slidenum">
              <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6</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Arial" panose="020B0604020202020204"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2.bin"/><Relationship Id="rId5" Type="http://schemas.openxmlformats.org/officeDocument/2006/relationships/image" Target="../media/image5.png"/><Relationship Id="rId4" Type="http://schemas.openxmlformats.org/officeDocument/2006/relationships/oleObject" Target="../embeddings/oleObject1.bin"/></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6.emf"/><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oleObject" Target="../embeddings/oleObject4.bin"/><Relationship Id="rId5" Type="http://schemas.openxmlformats.org/officeDocument/2006/relationships/image" Target="../media/image5.png"/><Relationship Id="rId4" Type="http://schemas.openxmlformats.org/officeDocument/2006/relationships/oleObject" Target="../embeddings/oleObject3.bin"/></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vmlDrawing" Target="../drawings/vmlDrawing4.vml"/><Relationship Id="rId4"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5901F0B-005B-4F32-9F3C-26AF3FEB8DFC}"/>
              </a:ext>
            </a:extLst>
          </p:cNvPr>
          <p:cNvSpPr/>
          <p:nvPr/>
        </p:nvSpPr>
        <p:spPr>
          <a:xfrm>
            <a:off x="0" y="0"/>
            <a:ext cx="9144000" cy="6858000"/>
          </a:xfrm>
          <a:prstGeom prst="rect">
            <a:avLst/>
          </a:prstGeom>
          <a:solidFill>
            <a:srgbClr val="FFFFFF"/>
          </a:solidFill>
          <a:ln w="12700" cap="flat" cmpd="sng"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a:solidFill>
                <a:prstClr val="white"/>
              </a:solidFill>
            </a:endParaRPr>
          </a:p>
        </p:txBody>
      </p:sp>
      <p:sp useBgFill="1">
        <p:nvSpPr>
          <p:cNvPr id="5" name="Rounded Rectangle 10">
            <a:extLst>
              <a:ext uri="{FF2B5EF4-FFF2-40B4-BE49-F238E27FC236}">
                <a16:creationId xmlns:a16="http://schemas.microsoft.com/office/drawing/2014/main" id="{5EBBAC00-DFFA-4303-B655-0B734777FCF1}"/>
              </a:ext>
            </a:extLst>
          </p:cNvPr>
          <p:cNvSpPr/>
          <p:nvPr/>
        </p:nvSpPr>
        <p:spPr>
          <a:xfrm>
            <a:off x="65089" y="69852"/>
            <a:ext cx="9013825" cy="6691313"/>
          </a:xfrm>
          <a:prstGeom prst="roundRect">
            <a:avLst>
              <a:gd name="adj" fmla="val 4929"/>
            </a:avLst>
          </a:prstGeom>
          <a:ln w="6350" cap="sq" cmpd="sng" algn="ctr">
            <a:solidFill>
              <a:schemeClr val="tx1">
                <a:alpha val="100000"/>
              </a:schemeClr>
            </a:solidFill>
            <a:prstDash val="solid"/>
          </a:ln>
          <a:effectLst/>
        </p:spPr>
        <p:style>
          <a:lnRef idx="3">
            <a:schemeClr val="lt1"/>
          </a:lnRef>
          <a:fillRef idx="1001">
            <a:schemeClr val="lt1"/>
          </a:fillRef>
          <a:effectRef idx="1">
            <a:schemeClr val="accent1"/>
          </a:effectRef>
          <a:fontRef idx="minor">
            <a:schemeClr val="lt1"/>
          </a:fontRef>
        </p:style>
        <p:txBody>
          <a:bodyPr anchor="ctr"/>
          <a:lstStyle/>
          <a:p>
            <a:pPr algn="ctr" fontAlgn="auto">
              <a:spcBef>
                <a:spcPts val="0"/>
              </a:spcBef>
              <a:spcAft>
                <a:spcPts val="0"/>
              </a:spcAft>
              <a:defRPr/>
            </a:pPr>
            <a:endParaRPr lang="en-US" sz="1800">
              <a:solidFill>
                <a:prstClr val="white"/>
              </a:solidFill>
            </a:endParaRPr>
          </a:p>
        </p:txBody>
      </p:sp>
      <p:sp>
        <p:nvSpPr>
          <p:cNvPr id="6" name="Rectangle 5">
            <a:extLst>
              <a:ext uri="{FF2B5EF4-FFF2-40B4-BE49-F238E27FC236}">
                <a16:creationId xmlns:a16="http://schemas.microsoft.com/office/drawing/2014/main" id="{C24AFDAB-F33A-4C57-B978-08BD83AF1C4F}"/>
              </a:ext>
            </a:extLst>
          </p:cNvPr>
          <p:cNvSpPr/>
          <p:nvPr/>
        </p:nvSpPr>
        <p:spPr>
          <a:xfrm>
            <a:off x="63501" y="1449390"/>
            <a:ext cx="9021763" cy="1527175"/>
          </a:xfrm>
          <a:prstGeom prst="rect">
            <a:avLst/>
          </a:prstGeom>
          <a:solidFill>
            <a:schemeClr val="accent1">
              <a:alpha val="10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sz="1800">
              <a:solidFill>
                <a:prstClr val="white"/>
              </a:solidFill>
            </a:endParaRPr>
          </a:p>
        </p:txBody>
      </p:sp>
      <p:sp>
        <p:nvSpPr>
          <p:cNvPr id="7" name="Rectangle 6">
            <a:extLst>
              <a:ext uri="{FF2B5EF4-FFF2-40B4-BE49-F238E27FC236}">
                <a16:creationId xmlns:a16="http://schemas.microsoft.com/office/drawing/2014/main" id="{5460F049-CDA7-4A39-B6E0-37DBFC7247C7}"/>
              </a:ext>
            </a:extLst>
          </p:cNvPr>
          <p:cNvSpPr/>
          <p:nvPr/>
        </p:nvSpPr>
        <p:spPr>
          <a:xfrm>
            <a:off x="63501" y="1397000"/>
            <a:ext cx="9021763" cy="120650"/>
          </a:xfrm>
          <a:prstGeom prst="rect">
            <a:avLst/>
          </a:prstGeom>
          <a:solidFill>
            <a:schemeClr val="accent1">
              <a:tint val="6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sz="1800">
              <a:solidFill>
                <a:prstClr val="white"/>
              </a:solidFill>
            </a:endParaRPr>
          </a:p>
        </p:txBody>
      </p:sp>
      <p:sp>
        <p:nvSpPr>
          <p:cNvPr id="10" name="Rectangle 9">
            <a:extLst>
              <a:ext uri="{FF2B5EF4-FFF2-40B4-BE49-F238E27FC236}">
                <a16:creationId xmlns:a16="http://schemas.microsoft.com/office/drawing/2014/main" id="{EE11CCEA-4B52-4DC1-AA0D-2D0514B6F887}"/>
              </a:ext>
            </a:extLst>
          </p:cNvPr>
          <p:cNvSpPr/>
          <p:nvPr/>
        </p:nvSpPr>
        <p:spPr>
          <a:xfrm>
            <a:off x="63501" y="2976565"/>
            <a:ext cx="9021763" cy="111125"/>
          </a:xfrm>
          <a:prstGeom prst="rect">
            <a:avLst/>
          </a:prstGeom>
          <a:solidFill>
            <a:schemeClr val="accent5"/>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sz="1800">
              <a:solidFill>
                <a:prstClr val="white"/>
              </a:solidFill>
            </a:endParaRPr>
          </a:p>
        </p:txBody>
      </p:sp>
      <p:pic>
        <p:nvPicPr>
          <p:cNvPr id="11" name="Picture 16">
            <a:extLst>
              <a:ext uri="{FF2B5EF4-FFF2-40B4-BE49-F238E27FC236}">
                <a16:creationId xmlns:a16="http://schemas.microsoft.com/office/drawing/2014/main" id="{319F52C6-1561-4520-810D-F28041E07CA0}"/>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81814" y="5373688"/>
            <a:ext cx="1989137" cy="1154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ubtitle 8"/>
          <p:cNvSpPr>
            <a:spLocks noGrp="1"/>
          </p:cNvSpPr>
          <p:nvPr>
            <p:ph type="subTitle" idx="1"/>
          </p:nvPr>
        </p:nvSpPr>
        <p:spPr>
          <a:xfrm>
            <a:off x="1295400" y="3200400"/>
            <a:ext cx="6400800" cy="1600200"/>
          </a:xfrm>
        </p:spPr>
        <p:txBody>
          <a:bodyPr/>
          <a:lstStyle>
            <a:lvl1pPr marL="0" indent="0" algn="ctr">
              <a:buNone/>
              <a:defRPr sz="2600">
                <a:solidFill>
                  <a:schemeClr val="tx2"/>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en-US"/>
              <a:t>Click to edit Master subtitle style</a:t>
            </a:r>
          </a:p>
        </p:txBody>
      </p:sp>
      <p:sp>
        <p:nvSpPr>
          <p:cNvPr id="8" name="Title 7"/>
          <p:cNvSpPr>
            <a:spLocks noGrp="1"/>
          </p:cNvSpPr>
          <p:nvPr>
            <p:ph type="ctrTitle"/>
          </p:nvPr>
        </p:nvSpPr>
        <p:spPr>
          <a:xfrm>
            <a:off x="457200" y="1505934"/>
            <a:ext cx="8229600" cy="1470025"/>
          </a:xfrm>
        </p:spPr>
        <p:txBody>
          <a:bodyPr anchor="ctr"/>
          <a:lstStyle>
            <a:lvl1pPr algn="ctr">
              <a:defRPr lang="en-US" dirty="0">
                <a:solidFill>
                  <a:srgbClr val="FFFFFF"/>
                </a:solidFill>
              </a:defRPr>
            </a:lvl1pPr>
          </a:lstStyle>
          <a:p>
            <a:r>
              <a:rPr lang="en-US"/>
              <a:t>Click to edit Master title style</a:t>
            </a:r>
          </a:p>
        </p:txBody>
      </p:sp>
      <p:sp>
        <p:nvSpPr>
          <p:cNvPr id="12" name="Date Placeholder 27">
            <a:extLst>
              <a:ext uri="{FF2B5EF4-FFF2-40B4-BE49-F238E27FC236}">
                <a16:creationId xmlns:a16="http://schemas.microsoft.com/office/drawing/2014/main" id="{E2A526E7-7E67-4538-BEDB-FB34EFE5F756}"/>
              </a:ext>
            </a:extLst>
          </p:cNvPr>
          <p:cNvSpPr>
            <a:spLocks noGrp="1"/>
          </p:cNvSpPr>
          <p:nvPr>
            <p:ph type="dt" sz="half" idx="10"/>
          </p:nvPr>
        </p:nvSpPr>
        <p:spPr/>
        <p:txBody>
          <a:bodyPr/>
          <a:lstStyle>
            <a:lvl1pPr>
              <a:defRPr/>
            </a:lvl1pPr>
          </a:lstStyle>
          <a:p>
            <a:pPr>
              <a:defRPr/>
            </a:pPr>
            <a:fld id="{1ADF19AA-145C-408E-B0B9-BF37D289F42A}" type="datetimeFigureOut">
              <a:rPr lang="en-US"/>
              <a:pPr>
                <a:defRPr/>
              </a:pPr>
              <a:t>1/30/2020</a:t>
            </a:fld>
            <a:endParaRPr lang="en-US"/>
          </a:p>
        </p:txBody>
      </p:sp>
      <p:sp>
        <p:nvSpPr>
          <p:cNvPr id="13" name="Footer Placeholder 16">
            <a:extLst>
              <a:ext uri="{FF2B5EF4-FFF2-40B4-BE49-F238E27FC236}">
                <a16:creationId xmlns:a16="http://schemas.microsoft.com/office/drawing/2014/main" id="{BE88D408-05F7-486D-9E3C-2B4399BCA185}"/>
              </a:ext>
            </a:extLst>
          </p:cNvPr>
          <p:cNvSpPr>
            <a:spLocks noGrp="1"/>
          </p:cNvSpPr>
          <p:nvPr>
            <p:ph type="ftr" sz="quarter" idx="11"/>
          </p:nvPr>
        </p:nvSpPr>
        <p:spPr/>
        <p:txBody>
          <a:bodyPr/>
          <a:lstStyle>
            <a:lvl1pPr>
              <a:defRPr/>
            </a:lvl1pPr>
          </a:lstStyle>
          <a:p>
            <a:pPr>
              <a:defRPr/>
            </a:pPr>
            <a:endParaRPr lang="en-US"/>
          </a:p>
        </p:txBody>
      </p:sp>
      <p:sp>
        <p:nvSpPr>
          <p:cNvPr id="14" name="Slide Number Placeholder 28">
            <a:extLst>
              <a:ext uri="{FF2B5EF4-FFF2-40B4-BE49-F238E27FC236}">
                <a16:creationId xmlns:a16="http://schemas.microsoft.com/office/drawing/2014/main" id="{F39024ED-0D93-438D-8C3E-8D7F92FFD1F2}"/>
              </a:ext>
            </a:extLst>
          </p:cNvPr>
          <p:cNvSpPr>
            <a:spLocks noGrp="1"/>
          </p:cNvSpPr>
          <p:nvPr>
            <p:ph type="sldNum" sz="quarter" idx="12"/>
          </p:nvPr>
        </p:nvSpPr>
        <p:spPr/>
        <p:txBody>
          <a:bodyPr/>
          <a:lstStyle>
            <a:lvl1pPr>
              <a:defRPr/>
            </a:lvl1pPr>
          </a:lstStyle>
          <a:p>
            <a:fld id="{1050A121-F964-4C12-B615-E828D04C7025}" type="slidenum">
              <a:rPr lang="en-US" altLang="en-US"/>
              <a:pPr/>
              <a:t>‹#›</a:t>
            </a:fld>
            <a:endParaRPr lang="en-US" altLang="en-US"/>
          </a:p>
        </p:txBody>
      </p:sp>
    </p:spTree>
    <p:extLst>
      <p:ext uri="{BB962C8B-B14F-4D97-AF65-F5344CB8AC3E}">
        <p14:creationId xmlns:p14="http://schemas.microsoft.com/office/powerpoint/2010/main" val="3041859988"/>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13">
            <a:extLst>
              <a:ext uri="{FF2B5EF4-FFF2-40B4-BE49-F238E27FC236}">
                <a16:creationId xmlns:a16="http://schemas.microsoft.com/office/drawing/2014/main" id="{5E5AABC9-14D3-4BFB-9A8E-E6C4774C6527}"/>
              </a:ext>
            </a:extLst>
          </p:cNvPr>
          <p:cNvSpPr>
            <a:spLocks noGrp="1"/>
          </p:cNvSpPr>
          <p:nvPr>
            <p:ph type="dt" sz="half" idx="10"/>
          </p:nvPr>
        </p:nvSpPr>
        <p:spPr/>
        <p:txBody>
          <a:bodyPr/>
          <a:lstStyle>
            <a:lvl1pPr>
              <a:defRPr/>
            </a:lvl1pPr>
          </a:lstStyle>
          <a:p>
            <a:pPr>
              <a:defRPr/>
            </a:pPr>
            <a:fld id="{DA6A18A5-C84B-493E-BD79-F081D6EA6FE9}" type="datetimeFigureOut">
              <a:rPr lang="en-US"/>
              <a:pPr>
                <a:defRPr/>
              </a:pPr>
              <a:t>1/30/2020</a:t>
            </a:fld>
            <a:endParaRPr lang="en-US"/>
          </a:p>
        </p:txBody>
      </p:sp>
      <p:sp>
        <p:nvSpPr>
          <p:cNvPr id="5" name="Footer Placeholder 2">
            <a:extLst>
              <a:ext uri="{FF2B5EF4-FFF2-40B4-BE49-F238E27FC236}">
                <a16:creationId xmlns:a16="http://schemas.microsoft.com/office/drawing/2014/main" id="{061EA3FE-FF21-45C1-BC98-BE1E75A46BD4}"/>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22">
            <a:extLst>
              <a:ext uri="{FF2B5EF4-FFF2-40B4-BE49-F238E27FC236}">
                <a16:creationId xmlns:a16="http://schemas.microsoft.com/office/drawing/2014/main" id="{7B15AEA9-271E-402A-95DC-0AF832357F86}"/>
              </a:ext>
            </a:extLst>
          </p:cNvPr>
          <p:cNvSpPr>
            <a:spLocks noGrp="1"/>
          </p:cNvSpPr>
          <p:nvPr>
            <p:ph type="sldNum" sz="quarter" idx="12"/>
          </p:nvPr>
        </p:nvSpPr>
        <p:spPr/>
        <p:txBody>
          <a:bodyPr/>
          <a:lstStyle>
            <a:lvl1pPr>
              <a:defRPr/>
            </a:lvl1pPr>
          </a:lstStyle>
          <a:p>
            <a:fld id="{6F88649D-8106-4D38-86F1-2BAAC125AB4C}" type="slidenum">
              <a:rPr lang="en-US" altLang="en-US"/>
              <a:pPr/>
              <a:t>‹#›</a:t>
            </a:fld>
            <a:endParaRPr lang="en-US" altLang="en-US"/>
          </a:p>
        </p:txBody>
      </p:sp>
    </p:spTree>
    <p:extLst>
      <p:ext uri="{BB962C8B-B14F-4D97-AF65-F5344CB8AC3E}">
        <p14:creationId xmlns:p14="http://schemas.microsoft.com/office/powerpoint/2010/main" val="35053586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45"/>
            <a:ext cx="201168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14400" y="274642"/>
            <a:ext cx="55626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13">
            <a:extLst>
              <a:ext uri="{FF2B5EF4-FFF2-40B4-BE49-F238E27FC236}">
                <a16:creationId xmlns:a16="http://schemas.microsoft.com/office/drawing/2014/main" id="{3BABEEC6-D4FE-4DFB-B76A-6340E7571D66}"/>
              </a:ext>
            </a:extLst>
          </p:cNvPr>
          <p:cNvSpPr>
            <a:spLocks noGrp="1"/>
          </p:cNvSpPr>
          <p:nvPr>
            <p:ph type="dt" sz="half" idx="10"/>
          </p:nvPr>
        </p:nvSpPr>
        <p:spPr/>
        <p:txBody>
          <a:bodyPr/>
          <a:lstStyle>
            <a:lvl1pPr>
              <a:defRPr/>
            </a:lvl1pPr>
          </a:lstStyle>
          <a:p>
            <a:pPr>
              <a:defRPr/>
            </a:pPr>
            <a:fld id="{59D49FB2-4431-4778-B582-AEF50B888D8B}" type="datetimeFigureOut">
              <a:rPr lang="en-US"/>
              <a:pPr>
                <a:defRPr/>
              </a:pPr>
              <a:t>1/30/2020</a:t>
            </a:fld>
            <a:endParaRPr lang="en-US"/>
          </a:p>
        </p:txBody>
      </p:sp>
      <p:sp>
        <p:nvSpPr>
          <p:cNvPr id="5" name="Footer Placeholder 2">
            <a:extLst>
              <a:ext uri="{FF2B5EF4-FFF2-40B4-BE49-F238E27FC236}">
                <a16:creationId xmlns:a16="http://schemas.microsoft.com/office/drawing/2014/main" id="{938DAF48-A8BB-4B91-8933-1EFC977DA3C7}"/>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22">
            <a:extLst>
              <a:ext uri="{FF2B5EF4-FFF2-40B4-BE49-F238E27FC236}">
                <a16:creationId xmlns:a16="http://schemas.microsoft.com/office/drawing/2014/main" id="{6EEAE7A8-FCAD-498E-9808-818924728728}"/>
              </a:ext>
            </a:extLst>
          </p:cNvPr>
          <p:cNvSpPr>
            <a:spLocks noGrp="1"/>
          </p:cNvSpPr>
          <p:nvPr>
            <p:ph type="sldNum" sz="quarter" idx="12"/>
          </p:nvPr>
        </p:nvSpPr>
        <p:spPr/>
        <p:txBody>
          <a:bodyPr/>
          <a:lstStyle>
            <a:lvl1pPr>
              <a:defRPr/>
            </a:lvl1pPr>
          </a:lstStyle>
          <a:p>
            <a:fld id="{E5456664-14AC-4A87-91D7-CF1AAC475B16}" type="slidenum">
              <a:rPr lang="en-US" altLang="en-US"/>
              <a:pPr/>
              <a:t>‹#›</a:t>
            </a:fld>
            <a:endParaRPr lang="en-US" altLang="en-US"/>
          </a:p>
        </p:txBody>
      </p:sp>
    </p:spTree>
    <p:extLst>
      <p:ext uri="{BB962C8B-B14F-4D97-AF65-F5344CB8AC3E}">
        <p14:creationId xmlns:p14="http://schemas.microsoft.com/office/powerpoint/2010/main" val="143355149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p>
            <a:r>
              <a:rPr lang="en-US"/>
              <a:t>Click to edit Master title style</a:t>
            </a:r>
          </a:p>
        </p:txBody>
      </p:sp>
      <p:sp>
        <p:nvSpPr>
          <p:cNvPr id="3" name="Table Placeholder 2"/>
          <p:cNvSpPr>
            <a:spLocks noGrp="1"/>
          </p:cNvSpPr>
          <p:nvPr>
            <p:ph type="tbl" idx="1"/>
          </p:nvPr>
        </p:nvSpPr>
        <p:spPr>
          <a:xfrm>
            <a:off x="457200" y="1600204"/>
            <a:ext cx="8229600" cy="4525963"/>
          </a:xfrm>
        </p:spPr>
        <p:txBody>
          <a:bodyPr>
            <a:normAutofit/>
          </a:bodyPr>
          <a:lstStyle/>
          <a:p>
            <a:pPr lvl="0"/>
            <a:endParaRPr lang="en-US" noProof="0"/>
          </a:p>
        </p:txBody>
      </p:sp>
      <p:sp>
        <p:nvSpPr>
          <p:cNvPr id="4" name="Rectangle 2">
            <a:extLst>
              <a:ext uri="{FF2B5EF4-FFF2-40B4-BE49-F238E27FC236}">
                <a16:creationId xmlns:a16="http://schemas.microsoft.com/office/drawing/2014/main" id="{8C8AF988-D35F-43EE-BE91-3CA2CA5A12E7}"/>
              </a:ext>
            </a:extLst>
          </p:cNvPr>
          <p:cNvSpPr>
            <a:spLocks noGrp="1" noChangeArrowheads="1"/>
          </p:cNvSpPr>
          <p:nvPr>
            <p:ph type="dt" sz="half" idx="10"/>
          </p:nvPr>
        </p:nvSpPr>
        <p:spPr/>
        <p:txBody>
          <a:bodyPr/>
          <a:lstStyle>
            <a:lvl1pPr>
              <a:defRPr>
                <a:solidFill>
                  <a:srgbClr val="FFFFFF"/>
                </a:solidFill>
              </a:defRPr>
            </a:lvl1pPr>
          </a:lstStyle>
          <a:p>
            <a:pPr>
              <a:defRPr/>
            </a:pPr>
            <a:endParaRPr lang="en-US"/>
          </a:p>
        </p:txBody>
      </p:sp>
      <p:sp>
        <p:nvSpPr>
          <p:cNvPr id="5" name="Rectangle 3">
            <a:extLst>
              <a:ext uri="{FF2B5EF4-FFF2-40B4-BE49-F238E27FC236}">
                <a16:creationId xmlns:a16="http://schemas.microsoft.com/office/drawing/2014/main" id="{9CA1B4A4-8486-4FA0-9EE5-ED621169C86E}"/>
              </a:ext>
            </a:extLst>
          </p:cNvPr>
          <p:cNvSpPr>
            <a:spLocks noGrp="1" noChangeArrowheads="1"/>
          </p:cNvSpPr>
          <p:nvPr>
            <p:ph type="sldNum" sz="quarter" idx="11"/>
          </p:nvPr>
        </p:nvSpPr>
        <p:spPr/>
        <p:txBody>
          <a:bodyPr/>
          <a:lstStyle>
            <a:lvl1pPr>
              <a:defRPr/>
            </a:lvl1pPr>
          </a:lstStyle>
          <a:p>
            <a:fld id="{67D11383-F66C-48C0-950E-CA73167E5B94}" type="slidenum">
              <a:rPr lang="en-US" altLang="en-US"/>
              <a:pPr/>
              <a:t>‹#›</a:t>
            </a:fld>
            <a:endParaRPr lang="en-US" altLang="en-US"/>
          </a:p>
        </p:txBody>
      </p:sp>
      <p:sp>
        <p:nvSpPr>
          <p:cNvPr id="6" name="Rectangle 14">
            <a:extLst>
              <a:ext uri="{FF2B5EF4-FFF2-40B4-BE49-F238E27FC236}">
                <a16:creationId xmlns:a16="http://schemas.microsoft.com/office/drawing/2014/main" id="{36C2304C-D6C2-4BFF-BACF-E51A69EA40EB}"/>
              </a:ext>
            </a:extLst>
          </p:cNvPr>
          <p:cNvSpPr>
            <a:spLocks noGrp="1" noChangeArrowheads="1"/>
          </p:cNvSpPr>
          <p:nvPr>
            <p:ph type="ftr" sz="quarter" idx="12"/>
          </p:nvPr>
        </p:nvSpPr>
        <p:spPr/>
        <p:txBody>
          <a:bodyPr/>
          <a:lstStyle>
            <a:lvl1pPr>
              <a:defRPr>
                <a:solidFill>
                  <a:srgbClr val="FFFFFF"/>
                </a:solidFill>
              </a:defRPr>
            </a:lvl1pPr>
          </a:lstStyle>
          <a:p>
            <a:pPr>
              <a:defRPr/>
            </a:pPr>
            <a:endParaRPr lang="en-US"/>
          </a:p>
        </p:txBody>
      </p:sp>
    </p:spTree>
    <p:extLst>
      <p:ext uri="{BB962C8B-B14F-4D97-AF65-F5344CB8AC3E}">
        <p14:creationId xmlns:p14="http://schemas.microsoft.com/office/powerpoint/2010/main" val="2491947416"/>
      </p:ext>
    </p:extLst>
  </p:cSld>
  <p:clrMapOvr>
    <a:masterClrMapping/>
  </p:clrMapOvr>
  <p:transition>
    <p:random/>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p>
            <a:r>
              <a:rPr lang="en-US"/>
              <a:t>Click to edit Master title style</a:t>
            </a:r>
          </a:p>
        </p:txBody>
      </p:sp>
      <p:sp>
        <p:nvSpPr>
          <p:cNvPr id="3" name="Chart Placeholder 2"/>
          <p:cNvSpPr>
            <a:spLocks noGrp="1"/>
          </p:cNvSpPr>
          <p:nvPr>
            <p:ph type="chart" idx="1"/>
          </p:nvPr>
        </p:nvSpPr>
        <p:spPr>
          <a:xfrm>
            <a:off x="457200" y="1600204"/>
            <a:ext cx="8229600" cy="4525963"/>
          </a:xfrm>
        </p:spPr>
        <p:txBody>
          <a:bodyPr>
            <a:normAutofit/>
          </a:bodyPr>
          <a:lstStyle/>
          <a:p>
            <a:pPr lvl="0"/>
            <a:endParaRPr lang="en-US" noProof="0"/>
          </a:p>
        </p:txBody>
      </p:sp>
      <p:sp>
        <p:nvSpPr>
          <p:cNvPr id="4" name="Rectangle 2">
            <a:extLst>
              <a:ext uri="{FF2B5EF4-FFF2-40B4-BE49-F238E27FC236}">
                <a16:creationId xmlns:a16="http://schemas.microsoft.com/office/drawing/2014/main" id="{B44541C7-2EF9-46EC-94C7-B4E9C39007E1}"/>
              </a:ext>
            </a:extLst>
          </p:cNvPr>
          <p:cNvSpPr>
            <a:spLocks noGrp="1" noChangeArrowheads="1"/>
          </p:cNvSpPr>
          <p:nvPr>
            <p:ph type="dt" sz="half" idx="10"/>
          </p:nvPr>
        </p:nvSpPr>
        <p:spPr/>
        <p:txBody>
          <a:bodyPr/>
          <a:lstStyle>
            <a:lvl1pPr>
              <a:defRPr>
                <a:solidFill>
                  <a:srgbClr val="FFFFFF"/>
                </a:solidFill>
              </a:defRPr>
            </a:lvl1pPr>
          </a:lstStyle>
          <a:p>
            <a:pPr>
              <a:defRPr/>
            </a:pPr>
            <a:endParaRPr lang="en-US"/>
          </a:p>
        </p:txBody>
      </p:sp>
      <p:sp>
        <p:nvSpPr>
          <p:cNvPr id="5" name="Rectangle 3">
            <a:extLst>
              <a:ext uri="{FF2B5EF4-FFF2-40B4-BE49-F238E27FC236}">
                <a16:creationId xmlns:a16="http://schemas.microsoft.com/office/drawing/2014/main" id="{6A0CC8EC-98B5-4F15-B536-5EE04B663626}"/>
              </a:ext>
            </a:extLst>
          </p:cNvPr>
          <p:cNvSpPr>
            <a:spLocks noGrp="1" noChangeArrowheads="1"/>
          </p:cNvSpPr>
          <p:nvPr>
            <p:ph type="sldNum" sz="quarter" idx="11"/>
          </p:nvPr>
        </p:nvSpPr>
        <p:spPr/>
        <p:txBody>
          <a:bodyPr/>
          <a:lstStyle>
            <a:lvl1pPr>
              <a:defRPr/>
            </a:lvl1pPr>
          </a:lstStyle>
          <a:p>
            <a:fld id="{F71CBEC7-EDD8-45CC-9CC1-2B6F1ADA7B27}" type="slidenum">
              <a:rPr lang="en-US" altLang="en-US"/>
              <a:pPr/>
              <a:t>‹#›</a:t>
            </a:fld>
            <a:endParaRPr lang="en-US" altLang="en-US"/>
          </a:p>
        </p:txBody>
      </p:sp>
      <p:sp>
        <p:nvSpPr>
          <p:cNvPr id="6" name="Rectangle 14">
            <a:extLst>
              <a:ext uri="{FF2B5EF4-FFF2-40B4-BE49-F238E27FC236}">
                <a16:creationId xmlns:a16="http://schemas.microsoft.com/office/drawing/2014/main" id="{2F27D3BA-0B8C-4656-BDD6-F6CD6866E664}"/>
              </a:ext>
            </a:extLst>
          </p:cNvPr>
          <p:cNvSpPr>
            <a:spLocks noGrp="1" noChangeArrowheads="1"/>
          </p:cNvSpPr>
          <p:nvPr>
            <p:ph type="ftr" sz="quarter" idx="12"/>
          </p:nvPr>
        </p:nvSpPr>
        <p:spPr/>
        <p:txBody>
          <a:bodyPr/>
          <a:lstStyle>
            <a:lvl1pPr>
              <a:defRPr>
                <a:solidFill>
                  <a:srgbClr val="FFFFFF"/>
                </a:solidFill>
              </a:defRPr>
            </a:lvl1pPr>
          </a:lstStyle>
          <a:p>
            <a:pPr>
              <a:defRPr/>
            </a:pPr>
            <a:endParaRPr lang="en-US"/>
          </a:p>
        </p:txBody>
      </p:sp>
    </p:spTree>
    <p:extLst>
      <p:ext uri="{BB962C8B-B14F-4D97-AF65-F5344CB8AC3E}">
        <p14:creationId xmlns:p14="http://schemas.microsoft.com/office/powerpoint/2010/main" val="3927975514"/>
      </p:ext>
    </p:extLst>
  </p:cSld>
  <p:clrMapOvr>
    <a:masterClrMapping/>
  </p:clrMapOvr>
  <p:transition>
    <p:random/>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Custom Layout">
    <p:spTree>
      <p:nvGrpSpPr>
        <p:cNvPr id="1" name=""/>
        <p:cNvGrpSpPr/>
        <p:nvPr/>
      </p:nvGrpSpPr>
      <p:grpSpPr>
        <a:xfrm>
          <a:off x="0" y="0"/>
          <a:ext cx="0" cy="0"/>
          <a:chOff x="0" y="0"/>
          <a:chExt cx="0" cy="0"/>
        </a:xfrm>
      </p:grpSpPr>
      <p:grpSp>
        <p:nvGrpSpPr>
          <p:cNvPr id="4" name="Group 4">
            <a:extLst>
              <a:ext uri="{FF2B5EF4-FFF2-40B4-BE49-F238E27FC236}">
                <a16:creationId xmlns:a16="http://schemas.microsoft.com/office/drawing/2014/main" id="{BE50C157-217D-4BF1-9B92-C205A1CDF20B}"/>
              </a:ext>
            </a:extLst>
          </p:cNvPr>
          <p:cNvGrpSpPr>
            <a:grpSpLocks/>
          </p:cNvGrpSpPr>
          <p:nvPr/>
        </p:nvGrpSpPr>
        <p:grpSpPr bwMode="auto">
          <a:xfrm>
            <a:off x="1" y="2"/>
            <a:ext cx="9140825" cy="6850063"/>
            <a:chOff x="0" y="0"/>
            <a:chExt cx="5758" cy="4315"/>
          </a:xfrm>
        </p:grpSpPr>
        <p:grpSp>
          <p:nvGrpSpPr>
            <p:cNvPr id="5" name="Group 5">
              <a:extLst>
                <a:ext uri="{FF2B5EF4-FFF2-40B4-BE49-F238E27FC236}">
                  <a16:creationId xmlns:a16="http://schemas.microsoft.com/office/drawing/2014/main" id="{FA629D32-EBEC-43C0-BCD7-C5F36C9775AB}"/>
                </a:ext>
              </a:extLst>
            </p:cNvPr>
            <p:cNvGrpSpPr>
              <a:grpSpLocks/>
            </p:cNvGrpSpPr>
            <p:nvPr userDrawn="1"/>
          </p:nvGrpSpPr>
          <p:grpSpPr bwMode="auto">
            <a:xfrm>
              <a:off x="1728" y="2230"/>
              <a:ext cx="4027" cy="2085"/>
              <a:chOff x="1728" y="2230"/>
              <a:chExt cx="4027" cy="2085"/>
            </a:xfrm>
          </p:grpSpPr>
          <p:sp>
            <p:nvSpPr>
              <p:cNvPr id="8" name="Freeform 6">
                <a:extLst>
                  <a:ext uri="{FF2B5EF4-FFF2-40B4-BE49-F238E27FC236}">
                    <a16:creationId xmlns:a16="http://schemas.microsoft.com/office/drawing/2014/main" id="{52A9FCF7-2C15-490A-9980-12DA77C0F04C}"/>
                  </a:ext>
                </a:extLst>
              </p:cNvPr>
              <p:cNvSpPr>
                <a:spLocks/>
              </p:cNvSpPr>
              <p:nvPr/>
            </p:nvSpPr>
            <p:spPr bwMode="hidden">
              <a:xfrm>
                <a:off x="1728" y="2644"/>
                <a:ext cx="2882" cy="1671"/>
              </a:xfrm>
              <a:custGeom>
                <a:avLst/>
                <a:gdLst/>
                <a:ahLst/>
                <a:cxnLst>
                  <a:cxn ang="0">
                    <a:pos x="2740" y="528"/>
                  </a:cxn>
                  <a:cxn ang="0">
                    <a:pos x="2632" y="484"/>
                  </a:cxn>
                  <a:cxn ang="0">
                    <a:pos x="2480" y="424"/>
                  </a:cxn>
                  <a:cxn ang="0">
                    <a:pos x="2203" y="343"/>
                  </a:cxn>
                  <a:cxn ang="0">
                    <a:pos x="1970" y="277"/>
                  </a:cxn>
                  <a:cxn ang="0">
                    <a:pos x="1807" y="212"/>
                  </a:cxn>
                  <a:cxn ang="0">
                    <a:pos x="1693" y="152"/>
                  </a:cxn>
                  <a:cxn ang="0">
                    <a:pos x="1628" y="103"/>
                  </a:cxn>
                  <a:cxn ang="0">
                    <a:pos x="1590" y="60"/>
                  </a:cxn>
                  <a:cxn ang="0">
                    <a:pos x="1579" y="27"/>
                  </a:cxn>
                  <a:cxn ang="0">
                    <a:pos x="1585" y="0"/>
                  </a:cxn>
                  <a:cxn ang="0">
                    <a:pos x="1557" y="49"/>
                  </a:cxn>
                  <a:cxn ang="0">
                    <a:pos x="1568" y="98"/>
                  </a:cxn>
                  <a:cxn ang="0">
                    <a:pos x="1617" y="141"/>
                  </a:cxn>
                  <a:cxn ang="0">
                    <a:pos x="1688" y="185"/>
                  </a:cxn>
                  <a:cxn ang="0">
                    <a:pos x="1791" y="228"/>
                  </a:cxn>
                  <a:cxn ang="0">
                    <a:pos x="2040" y="310"/>
                  </a:cxn>
                  <a:cxn ang="0">
                    <a:pos x="2285" y="381"/>
                  </a:cxn>
                  <a:cxn ang="0">
                    <a:pos x="2464" y="435"/>
                  </a:cxn>
                  <a:cxn ang="0">
                    <a:pos x="2605" y="484"/>
                  </a:cxn>
                  <a:cxn ang="0">
                    <a:pos x="2708" y="528"/>
                  </a:cxn>
                  <a:cxn ang="0">
                    <a:pos x="2768" y="560"/>
                  </a:cxn>
                  <a:cxn ang="0">
                    <a:pos x="2795" y="593"/>
                  </a:cxn>
                  <a:cxn ang="0">
                    <a:pos x="2795" y="642"/>
                  </a:cxn>
                  <a:cxn ang="0">
                    <a:pos x="2762" y="691"/>
                  </a:cxn>
                  <a:cxn ang="0">
                    <a:pos x="2692" y="735"/>
                  </a:cxn>
                  <a:cxn ang="0">
                    <a:pos x="2589" y="778"/>
                  </a:cxn>
                  <a:cxn ang="0">
                    <a:pos x="2458" y="822"/>
                  </a:cxn>
                  <a:cxn ang="0">
                    <a:pos x="2301" y="865"/>
                  </a:cxn>
                  <a:cxn ang="0">
                    <a:pos x="2030" y="930"/>
                  </a:cxn>
                  <a:cxn ang="0">
                    <a:pos x="1606" y="1034"/>
                  </a:cxn>
                  <a:cxn ang="0">
                    <a:pos x="1145" y="1164"/>
                  </a:cxn>
                  <a:cxn ang="0">
                    <a:pos x="673" y="1328"/>
                  </a:cxn>
                  <a:cxn ang="0">
                    <a:pos x="217" y="1545"/>
                  </a:cxn>
                  <a:cxn ang="0">
                    <a:pos x="353" y="1671"/>
                  </a:cxn>
                  <a:cxn ang="0">
                    <a:pos x="754" y="1469"/>
                  </a:cxn>
                  <a:cxn ang="0">
                    <a:pos x="1145" y="1311"/>
                  </a:cxn>
                  <a:cxn ang="0">
                    <a:pos x="1519" y="1186"/>
                  </a:cxn>
                  <a:cxn ang="0">
                    <a:pos x="1861" y="1083"/>
                  </a:cxn>
                  <a:cxn ang="0">
                    <a:pos x="2165" y="1007"/>
                  </a:cxn>
                  <a:cxn ang="0">
                    <a:pos x="2426" y="947"/>
                  </a:cxn>
                  <a:cxn ang="0">
                    <a:pos x="2626" y="892"/>
                  </a:cxn>
                  <a:cxn ang="0">
                    <a:pos x="2762" y="838"/>
                  </a:cxn>
                  <a:cxn ang="0">
                    <a:pos x="2827" y="794"/>
                  </a:cxn>
                  <a:cxn ang="0">
                    <a:pos x="2865" y="745"/>
                  </a:cxn>
                  <a:cxn ang="0">
                    <a:pos x="2882" y="702"/>
                  </a:cxn>
                  <a:cxn ang="0">
                    <a:pos x="2854" y="620"/>
                  </a:cxn>
                  <a:cxn ang="0">
                    <a:pos x="2800" y="560"/>
                  </a:cxn>
                  <a:cxn ang="0">
                    <a:pos x="2773" y="544"/>
                  </a:cxn>
                </a:cxnLst>
                <a:rect l="0" t="0" r="r" b="b"/>
                <a:pathLst>
                  <a:path w="2882" h="1671">
                    <a:moveTo>
                      <a:pt x="2773" y="544"/>
                    </a:moveTo>
                    <a:lnTo>
                      <a:pt x="2740" y="528"/>
                    </a:lnTo>
                    <a:lnTo>
                      <a:pt x="2692" y="506"/>
                    </a:lnTo>
                    <a:lnTo>
                      <a:pt x="2632" y="484"/>
                    </a:lnTo>
                    <a:lnTo>
                      <a:pt x="2561" y="457"/>
                    </a:lnTo>
                    <a:lnTo>
                      <a:pt x="2480" y="424"/>
                    </a:lnTo>
                    <a:lnTo>
                      <a:pt x="2388" y="397"/>
                    </a:lnTo>
                    <a:lnTo>
                      <a:pt x="2203" y="343"/>
                    </a:lnTo>
                    <a:lnTo>
                      <a:pt x="2078" y="310"/>
                    </a:lnTo>
                    <a:lnTo>
                      <a:pt x="1970" y="277"/>
                    </a:lnTo>
                    <a:lnTo>
                      <a:pt x="1878" y="245"/>
                    </a:lnTo>
                    <a:lnTo>
                      <a:pt x="1807" y="212"/>
                    </a:lnTo>
                    <a:lnTo>
                      <a:pt x="1742" y="179"/>
                    </a:lnTo>
                    <a:lnTo>
                      <a:pt x="1693" y="152"/>
                    </a:lnTo>
                    <a:lnTo>
                      <a:pt x="1655" y="125"/>
                    </a:lnTo>
                    <a:lnTo>
                      <a:pt x="1628" y="103"/>
                    </a:lnTo>
                    <a:lnTo>
                      <a:pt x="1606" y="81"/>
                    </a:lnTo>
                    <a:lnTo>
                      <a:pt x="1590" y="60"/>
                    </a:lnTo>
                    <a:lnTo>
                      <a:pt x="1585" y="43"/>
                    </a:lnTo>
                    <a:lnTo>
                      <a:pt x="1579" y="27"/>
                    </a:lnTo>
                    <a:lnTo>
                      <a:pt x="1585" y="5"/>
                    </a:lnTo>
                    <a:lnTo>
                      <a:pt x="1585" y="0"/>
                    </a:lnTo>
                    <a:lnTo>
                      <a:pt x="1568" y="27"/>
                    </a:lnTo>
                    <a:lnTo>
                      <a:pt x="1557" y="49"/>
                    </a:lnTo>
                    <a:lnTo>
                      <a:pt x="1557" y="76"/>
                    </a:lnTo>
                    <a:lnTo>
                      <a:pt x="1568" y="98"/>
                    </a:lnTo>
                    <a:lnTo>
                      <a:pt x="1590" y="120"/>
                    </a:lnTo>
                    <a:lnTo>
                      <a:pt x="1617" y="141"/>
                    </a:lnTo>
                    <a:lnTo>
                      <a:pt x="1650" y="163"/>
                    </a:lnTo>
                    <a:lnTo>
                      <a:pt x="1688" y="185"/>
                    </a:lnTo>
                    <a:lnTo>
                      <a:pt x="1737" y="207"/>
                    </a:lnTo>
                    <a:lnTo>
                      <a:pt x="1791" y="228"/>
                    </a:lnTo>
                    <a:lnTo>
                      <a:pt x="1905" y="267"/>
                    </a:lnTo>
                    <a:lnTo>
                      <a:pt x="2040" y="310"/>
                    </a:lnTo>
                    <a:lnTo>
                      <a:pt x="2182" y="348"/>
                    </a:lnTo>
                    <a:lnTo>
                      <a:pt x="2285" y="381"/>
                    </a:lnTo>
                    <a:lnTo>
                      <a:pt x="2382" y="408"/>
                    </a:lnTo>
                    <a:lnTo>
                      <a:pt x="2464" y="435"/>
                    </a:lnTo>
                    <a:lnTo>
                      <a:pt x="2540" y="462"/>
                    </a:lnTo>
                    <a:lnTo>
                      <a:pt x="2605" y="484"/>
                    </a:lnTo>
                    <a:lnTo>
                      <a:pt x="2659" y="506"/>
                    </a:lnTo>
                    <a:lnTo>
                      <a:pt x="2708" y="528"/>
                    </a:lnTo>
                    <a:lnTo>
                      <a:pt x="2740" y="544"/>
                    </a:lnTo>
                    <a:lnTo>
                      <a:pt x="2768" y="560"/>
                    </a:lnTo>
                    <a:lnTo>
                      <a:pt x="2784" y="577"/>
                    </a:lnTo>
                    <a:lnTo>
                      <a:pt x="2795" y="593"/>
                    </a:lnTo>
                    <a:lnTo>
                      <a:pt x="2800" y="615"/>
                    </a:lnTo>
                    <a:lnTo>
                      <a:pt x="2795" y="642"/>
                    </a:lnTo>
                    <a:lnTo>
                      <a:pt x="2784" y="664"/>
                    </a:lnTo>
                    <a:lnTo>
                      <a:pt x="2762" y="691"/>
                    </a:lnTo>
                    <a:lnTo>
                      <a:pt x="2730" y="713"/>
                    </a:lnTo>
                    <a:lnTo>
                      <a:pt x="2692" y="735"/>
                    </a:lnTo>
                    <a:lnTo>
                      <a:pt x="2643" y="756"/>
                    </a:lnTo>
                    <a:lnTo>
                      <a:pt x="2589" y="778"/>
                    </a:lnTo>
                    <a:lnTo>
                      <a:pt x="2529" y="800"/>
                    </a:lnTo>
                    <a:lnTo>
                      <a:pt x="2458" y="822"/>
                    </a:lnTo>
                    <a:lnTo>
                      <a:pt x="2382" y="843"/>
                    </a:lnTo>
                    <a:lnTo>
                      <a:pt x="2301" y="865"/>
                    </a:lnTo>
                    <a:lnTo>
                      <a:pt x="2214" y="887"/>
                    </a:lnTo>
                    <a:lnTo>
                      <a:pt x="2030" y="930"/>
                    </a:lnTo>
                    <a:lnTo>
                      <a:pt x="1823" y="979"/>
                    </a:lnTo>
                    <a:lnTo>
                      <a:pt x="1606" y="1034"/>
                    </a:lnTo>
                    <a:lnTo>
                      <a:pt x="1378" y="1094"/>
                    </a:lnTo>
                    <a:lnTo>
                      <a:pt x="1145" y="1164"/>
                    </a:lnTo>
                    <a:lnTo>
                      <a:pt x="912" y="1241"/>
                    </a:lnTo>
                    <a:lnTo>
                      <a:pt x="673" y="1328"/>
                    </a:lnTo>
                    <a:lnTo>
                      <a:pt x="440" y="1431"/>
                    </a:lnTo>
                    <a:lnTo>
                      <a:pt x="217" y="1545"/>
                    </a:lnTo>
                    <a:lnTo>
                      <a:pt x="0" y="1671"/>
                    </a:lnTo>
                    <a:lnTo>
                      <a:pt x="353" y="1671"/>
                    </a:lnTo>
                    <a:lnTo>
                      <a:pt x="554" y="1567"/>
                    </a:lnTo>
                    <a:lnTo>
                      <a:pt x="754" y="1469"/>
                    </a:lnTo>
                    <a:lnTo>
                      <a:pt x="955" y="1388"/>
                    </a:lnTo>
                    <a:lnTo>
                      <a:pt x="1145" y="1311"/>
                    </a:lnTo>
                    <a:lnTo>
                      <a:pt x="1335" y="1241"/>
                    </a:lnTo>
                    <a:lnTo>
                      <a:pt x="1519" y="1186"/>
                    </a:lnTo>
                    <a:lnTo>
                      <a:pt x="1693" y="1132"/>
                    </a:lnTo>
                    <a:lnTo>
                      <a:pt x="1861" y="1083"/>
                    </a:lnTo>
                    <a:lnTo>
                      <a:pt x="2019" y="1045"/>
                    </a:lnTo>
                    <a:lnTo>
                      <a:pt x="2165" y="1007"/>
                    </a:lnTo>
                    <a:lnTo>
                      <a:pt x="2301" y="974"/>
                    </a:lnTo>
                    <a:lnTo>
                      <a:pt x="2426" y="947"/>
                    </a:lnTo>
                    <a:lnTo>
                      <a:pt x="2534" y="914"/>
                    </a:lnTo>
                    <a:lnTo>
                      <a:pt x="2626" y="892"/>
                    </a:lnTo>
                    <a:lnTo>
                      <a:pt x="2702" y="865"/>
                    </a:lnTo>
                    <a:lnTo>
                      <a:pt x="2762" y="838"/>
                    </a:lnTo>
                    <a:lnTo>
                      <a:pt x="2800" y="816"/>
                    </a:lnTo>
                    <a:lnTo>
                      <a:pt x="2827" y="794"/>
                    </a:lnTo>
                    <a:lnTo>
                      <a:pt x="2849" y="767"/>
                    </a:lnTo>
                    <a:lnTo>
                      <a:pt x="2865" y="745"/>
                    </a:lnTo>
                    <a:lnTo>
                      <a:pt x="2876" y="724"/>
                    </a:lnTo>
                    <a:lnTo>
                      <a:pt x="2882" y="702"/>
                    </a:lnTo>
                    <a:lnTo>
                      <a:pt x="2876" y="658"/>
                    </a:lnTo>
                    <a:lnTo>
                      <a:pt x="2854" y="620"/>
                    </a:lnTo>
                    <a:lnTo>
                      <a:pt x="2833" y="588"/>
                    </a:lnTo>
                    <a:lnTo>
                      <a:pt x="2800" y="560"/>
                    </a:lnTo>
                    <a:lnTo>
                      <a:pt x="2773" y="544"/>
                    </a:lnTo>
                    <a:lnTo>
                      <a:pt x="2773" y="544"/>
                    </a:lnTo>
                    <a:close/>
                  </a:path>
                </a:pathLst>
              </a:custGeom>
              <a:gradFill rotWithShape="0">
                <a:gsLst>
                  <a:gs pos="0">
                    <a:schemeClr val="bg1"/>
                  </a:gs>
                  <a:gs pos="100000">
                    <a:schemeClr val="bg1">
                      <a:gamma/>
                      <a:shade val="90980"/>
                      <a:invGamma/>
                    </a:schemeClr>
                  </a:gs>
                </a:gsLst>
                <a:lin ang="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9" name="Freeform 7">
                <a:extLst>
                  <a:ext uri="{FF2B5EF4-FFF2-40B4-BE49-F238E27FC236}">
                    <a16:creationId xmlns:a16="http://schemas.microsoft.com/office/drawing/2014/main" id="{750C6A5E-225E-410F-AEC6-D846046BE4FC}"/>
                  </a:ext>
                </a:extLst>
              </p:cNvPr>
              <p:cNvSpPr>
                <a:spLocks/>
              </p:cNvSpPr>
              <p:nvPr/>
            </p:nvSpPr>
            <p:spPr bwMode="hidden">
              <a:xfrm>
                <a:off x="4170" y="2671"/>
                <a:ext cx="1259" cy="811"/>
              </a:xfrm>
              <a:custGeom>
                <a:avLst/>
                <a:gdLst/>
                <a:ahLst/>
                <a:cxnLst>
                  <a:cxn ang="0">
                    <a:pos x="1259" y="615"/>
                  </a:cxn>
                  <a:cxn ang="0">
                    <a:pos x="1248" y="588"/>
                  </a:cxn>
                  <a:cxn ang="0">
                    <a:pos x="1237" y="566"/>
                  </a:cxn>
                  <a:cxn ang="0">
                    <a:pos x="1216" y="539"/>
                  </a:cxn>
                  <a:cxn ang="0">
                    <a:pos x="1188" y="517"/>
                  </a:cxn>
                  <a:cxn ang="0">
                    <a:pos x="1123" y="479"/>
                  </a:cxn>
                  <a:cxn ang="0">
                    <a:pos x="1042" y="441"/>
                  </a:cxn>
                  <a:cxn ang="0">
                    <a:pos x="944" y="408"/>
                  </a:cxn>
                  <a:cxn ang="0">
                    <a:pos x="841" y="381"/>
                  </a:cxn>
                  <a:cxn ang="0">
                    <a:pos x="727" y="348"/>
                  </a:cxn>
                  <a:cxn ang="0">
                    <a:pos x="613" y="321"/>
                  </a:cxn>
                  <a:cxn ang="0">
                    <a:pos x="499" y="294"/>
                  </a:cxn>
                  <a:cxn ang="0">
                    <a:pos x="391" y="261"/>
                  </a:cxn>
                  <a:cxn ang="0">
                    <a:pos x="288" y="229"/>
                  </a:cxn>
                  <a:cxn ang="0">
                    <a:pos x="195" y="196"/>
                  </a:cxn>
                  <a:cxn ang="0">
                    <a:pos x="119" y="152"/>
                  </a:cxn>
                  <a:cxn ang="0">
                    <a:pos x="54" y="109"/>
                  </a:cxn>
                  <a:cxn ang="0">
                    <a:pos x="33" y="87"/>
                  </a:cxn>
                  <a:cxn ang="0">
                    <a:pos x="16" y="60"/>
                  </a:cxn>
                  <a:cxn ang="0">
                    <a:pos x="5" y="33"/>
                  </a:cxn>
                  <a:cxn ang="0">
                    <a:pos x="0" y="0"/>
                  </a:cxn>
                  <a:cxn ang="0">
                    <a:pos x="0" y="6"/>
                  </a:cxn>
                  <a:cxn ang="0">
                    <a:pos x="0" y="11"/>
                  </a:cxn>
                  <a:cxn ang="0">
                    <a:pos x="0" y="38"/>
                  </a:cxn>
                  <a:cxn ang="0">
                    <a:pos x="5" y="60"/>
                  </a:cxn>
                  <a:cxn ang="0">
                    <a:pos x="16" y="87"/>
                  </a:cxn>
                  <a:cxn ang="0">
                    <a:pos x="33" y="114"/>
                  </a:cxn>
                  <a:cxn ang="0">
                    <a:pos x="54" y="142"/>
                  </a:cxn>
                  <a:cxn ang="0">
                    <a:pos x="87" y="174"/>
                  </a:cxn>
                  <a:cxn ang="0">
                    <a:pos x="125" y="207"/>
                  </a:cxn>
                  <a:cxn ang="0">
                    <a:pos x="179" y="240"/>
                  </a:cxn>
                  <a:cxn ang="0">
                    <a:pos x="244" y="278"/>
                  </a:cxn>
                  <a:cxn ang="0">
                    <a:pos x="326" y="310"/>
                  </a:cxn>
                  <a:cxn ang="0">
                    <a:pos x="418" y="348"/>
                  </a:cxn>
                  <a:cxn ang="0">
                    <a:pos x="526" y="381"/>
                  </a:cxn>
                  <a:cxn ang="0">
                    <a:pos x="657" y="414"/>
                  </a:cxn>
                  <a:cxn ang="0">
                    <a:pos x="749" y="435"/>
                  </a:cxn>
                  <a:cxn ang="0">
                    <a:pos x="830" y="463"/>
                  </a:cxn>
                  <a:cxn ang="0">
                    <a:pos x="901" y="490"/>
                  </a:cxn>
                  <a:cxn ang="0">
                    <a:pos x="966" y="512"/>
                  </a:cxn>
                  <a:cxn ang="0">
                    <a:pos x="1015" y="539"/>
                  </a:cxn>
                  <a:cxn ang="0">
                    <a:pos x="1053" y="566"/>
                  </a:cxn>
                  <a:cxn ang="0">
                    <a:pos x="1080" y="593"/>
                  </a:cxn>
                  <a:cxn ang="0">
                    <a:pos x="1102" y="620"/>
                  </a:cxn>
                  <a:cxn ang="0">
                    <a:pos x="1112" y="648"/>
                  </a:cxn>
                  <a:cxn ang="0">
                    <a:pos x="1118" y="675"/>
                  </a:cxn>
                  <a:cxn ang="0">
                    <a:pos x="1112" y="697"/>
                  </a:cxn>
                  <a:cxn ang="0">
                    <a:pos x="1096" y="724"/>
                  </a:cxn>
                  <a:cxn ang="0">
                    <a:pos x="1080" y="746"/>
                  </a:cxn>
                  <a:cxn ang="0">
                    <a:pos x="1053" y="767"/>
                  </a:cxn>
                  <a:cxn ang="0">
                    <a:pos x="1015" y="789"/>
                  </a:cxn>
                  <a:cxn ang="0">
                    <a:pos x="977" y="811"/>
                  </a:cxn>
                  <a:cxn ang="0">
                    <a:pos x="1047" y="789"/>
                  </a:cxn>
                  <a:cxn ang="0">
                    <a:pos x="1107" y="767"/>
                  </a:cxn>
                  <a:cxn ang="0">
                    <a:pos x="1156" y="746"/>
                  </a:cxn>
                  <a:cxn ang="0">
                    <a:pos x="1199" y="724"/>
                  </a:cxn>
                  <a:cxn ang="0">
                    <a:pos x="1226" y="702"/>
                  </a:cxn>
                  <a:cxn ang="0">
                    <a:pos x="1248" y="675"/>
                  </a:cxn>
                  <a:cxn ang="0">
                    <a:pos x="1259" y="648"/>
                  </a:cxn>
                  <a:cxn ang="0">
                    <a:pos x="1259" y="615"/>
                  </a:cxn>
                  <a:cxn ang="0">
                    <a:pos x="1259" y="615"/>
                  </a:cxn>
                </a:cxnLst>
                <a:rect l="0" t="0" r="r" b="b"/>
                <a:pathLst>
                  <a:path w="1259" h="811">
                    <a:moveTo>
                      <a:pt x="1259" y="615"/>
                    </a:moveTo>
                    <a:lnTo>
                      <a:pt x="1248" y="588"/>
                    </a:lnTo>
                    <a:lnTo>
                      <a:pt x="1237" y="566"/>
                    </a:lnTo>
                    <a:lnTo>
                      <a:pt x="1216" y="539"/>
                    </a:lnTo>
                    <a:lnTo>
                      <a:pt x="1188" y="517"/>
                    </a:lnTo>
                    <a:lnTo>
                      <a:pt x="1123" y="479"/>
                    </a:lnTo>
                    <a:lnTo>
                      <a:pt x="1042" y="441"/>
                    </a:lnTo>
                    <a:lnTo>
                      <a:pt x="944" y="408"/>
                    </a:lnTo>
                    <a:lnTo>
                      <a:pt x="841" y="381"/>
                    </a:lnTo>
                    <a:lnTo>
                      <a:pt x="727" y="348"/>
                    </a:lnTo>
                    <a:lnTo>
                      <a:pt x="613" y="321"/>
                    </a:lnTo>
                    <a:lnTo>
                      <a:pt x="499" y="294"/>
                    </a:lnTo>
                    <a:lnTo>
                      <a:pt x="391" y="261"/>
                    </a:lnTo>
                    <a:lnTo>
                      <a:pt x="288" y="229"/>
                    </a:lnTo>
                    <a:lnTo>
                      <a:pt x="195" y="196"/>
                    </a:lnTo>
                    <a:lnTo>
                      <a:pt x="119" y="152"/>
                    </a:lnTo>
                    <a:lnTo>
                      <a:pt x="54" y="109"/>
                    </a:lnTo>
                    <a:lnTo>
                      <a:pt x="33" y="87"/>
                    </a:lnTo>
                    <a:lnTo>
                      <a:pt x="16" y="60"/>
                    </a:lnTo>
                    <a:lnTo>
                      <a:pt x="5" y="33"/>
                    </a:lnTo>
                    <a:lnTo>
                      <a:pt x="0" y="0"/>
                    </a:lnTo>
                    <a:lnTo>
                      <a:pt x="0" y="6"/>
                    </a:lnTo>
                    <a:lnTo>
                      <a:pt x="0" y="11"/>
                    </a:lnTo>
                    <a:lnTo>
                      <a:pt x="0" y="38"/>
                    </a:lnTo>
                    <a:lnTo>
                      <a:pt x="5" y="60"/>
                    </a:lnTo>
                    <a:lnTo>
                      <a:pt x="16" y="87"/>
                    </a:lnTo>
                    <a:lnTo>
                      <a:pt x="33" y="114"/>
                    </a:lnTo>
                    <a:lnTo>
                      <a:pt x="54" y="142"/>
                    </a:lnTo>
                    <a:lnTo>
                      <a:pt x="87" y="174"/>
                    </a:lnTo>
                    <a:lnTo>
                      <a:pt x="125" y="207"/>
                    </a:lnTo>
                    <a:lnTo>
                      <a:pt x="179" y="240"/>
                    </a:lnTo>
                    <a:lnTo>
                      <a:pt x="244" y="278"/>
                    </a:lnTo>
                    <a:lnTo>
                      <a:pt x="326" y="310"/>
                    </a:lnTo>
                    <a:lnTo>
                      <a:pt x="418" y="348"/>
                    </a:lnTo>
                    <a:lnTo>
                      <a:pt x="526" y="381"/>
                    </a:lnTo>
                    <a:lnTo>
                      <a:pt x="657" y="414"/>
                    </a:lnTo>
                    <a:lnTo>
                      <a:pt x="749" y="435"/>
                    </a:lnTo>
                    <a:lnTo>
                      <a:pt x="830" y="463"/>
                    </a:lnTo>
                    <a:lnTo>
                      <a:pt x="901" y="490"/>
                    </a:lnTo>
                    <a:lnTo>
                      <a:pt x="966" y="512"/>
                    </a:lnTo>
                    <a:lnTo>
                      <a:pt x="1015" y="539"/>
                    </a:lnTo>
                    <a:lnTo>
                      <a:pt x="1053" y="566"/>
                    </a:lnTo>
                    <a:lnTo>
                      <a:pt x="1080" y="593"/>
                    </a:lnTo>
                    <a:lnTo>
                      <a:pt x="1102" y="620"/>
                    </a:lnTo>
                    <a:lnTo>
                      <a:pt x="1112" y="648"/>
                    </a:lnTo>
                    <a:lnTo>
                      <a:pt x="1118" y="675"/>
                    </a:lnTo>
                    <a:lnTo>
                      <a:pt x="1112" y="697"/>
                    </a:lnTo>
                    <a:lnTo>
                      <a:pt x="1096" y="724"/>
                    </a:lnTo>
                    <a:lnTo>
                      <a:pt x="1080" y="746"/>
                    </a:lnTo>
                    <a:lnTo>
                      <a:pt x="1053" y="767"/>
                    </a:lnTo>
                    <a:lnTo>
                      <a:pt x="1015" y="789"/>
                    </a:lnTo>
                    <a:lnTo>
                      <a:pt x="977" y="811"/>
                    </a:lnTo>
                    <a:lnTo>
                      <a:pt x="1047" y="789"/>
                    </a:lnTo>
                    <a:lnTo>
                      <a:pt x="1107" y="767"/>
                    </a:lnTo>
                    <a:lnTo>
                      <a:pt x="1156" y="746"/>
                    </a:lnTo>
                    <a:lnTo>
                      <a:pt x="1199" y="724"/>
                    </a:lnTo>
                    <a:lnTo>
                      <a:pt x="1226" y="702"/>
                    </a:lnTo>
                    <a:lnTo>
                      <a:pt x="1248" y="675"/>
                    </a:lnTo>
                    <a:lnTo>
                      <a:pt x="1259" y="648"/>
                    </a:lnTo>
                    <a:lnTo>
                      <a:pt x="1259" y="615"/>
                    </a:lnTo>
                    <a:lnTo>
                      <a:pt x="1259" y="615"/>
                    </a:lnTo>
                    <a:close/>
                  </a:path>
                </a:pathLst>
              </a:custGeom>
              <a:gradFill rotWithShape="0">
                <a:gsLst>
                  <a:gs pos="0">
                    <a:schemeClr val="bg1"/>
                  </a:gs>
                  <a:gs pos="100000">
                    <a:schemeClr val="bg1">
                      <a:gamma/>
                      <a:shade val="90980"/>
                      <a:invGamma/>
                    </a:schemeClr>
                  </a:gs>
                </a:gsLst>
                <a:lin ang="27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10" name="Freeform 8">
                <a:extLst>
                  <a:ext uri="{FF2B5EF4-FFF2-40B4-BE49-F238E27FC236}">
                    <a16:creationId xmlns:a16="http://schemas.microsoft.com/office/drawing/2014/main" id="{BE7E78FE-6C2C-4010-9E3D-287B985EF114}"/>
                  </a:ext>
                </a:extLst>
              </p:cNvPr>
              <p:cNvSpPr>
                <a:spLocks/>
              </p:cNvSpPr>
              <p:nvPr/>
            </p:nvSpPr>
            <p:spPr bwMode="hidden">
              <a:xfrm>
                <a:off x="2900" y="3346"/>
                <a:ext cx="2849" cy="969"/>
              </a:xfrm>
              <a:custGeom>
                <a:avLst/>
                <a:gdLst/>
                <a:ahLst/>
                <a:cxnLst>
                  <a:cxn ang="0">
                    <a:pos x="92" y="958"/>
                  </a:cxn>
                  <a:cxn ang="0">
                    <a:pos x="0" y="969"/>
                  </a:cxn>
                  <a:cxn ang="0">
                    <a:pos x="391" y="969"/>
                  </a:cxn>
                  <a:cxn ang="0">
                    <a:pos x="434" y="947"/>
                  </a:cxn>
                  <a:cxn ang="0">
                    <a:pos x="483" y="914"/>
                  </a:cxn>
                  <a:cxn ang="0">
                    <a:pos x="554" y="876"/>
                  </a:cxn>
                  <a:cxn ang="0">
                    <a:pos x="635" y="838"/>
                  </a:cxn>
                  <a:cxn ang="0">
                    <a:pos x="727" y="794"/>
                  </a:cxn>
                  <a:cxn ang="0">
                    <a:pos x="836" y="745"/>
                  </a:cxn>
                  <a:cxn ang="0">
                    <a:pos x="961" y="696"/>
                  </a:cxn>
                  <a:cxn ang="0">
                    <a:pos x="1102" y="642"/>
                  </a:cxn>
                  <a:cxn ang="0">
                    <a:pos x="1259" y="582"/>
                  </a:cxn>
                  <a:cxn ang="0">
                    <a:pos x="1433" y="522"/>
                  </a:cxn>
                  <a:cxn ang="0">
                    <a:pos x="1623" y="462"/>
                  </a:cxn>
                  <a:cxn ang="0">
                    <a:pos x="1829" y="403"/>
                  </a:cxn>
                  <a:cxn ang="0">
                    <a:pos x="2057" y="343"/>
                  </a:cxn>
                  <a:cxn ang="0">
                    <a:pos x="2301" y="283"/>
                  </a:cxn>
                  <a:cxn ang="0">
                    <a:pos x="2567" y="223"/>
                  </a:cxn>
                  <a:cxn ang="0">
                    <a:pos x="2849" y="163"/>
                  </a:cxn>
                  <a:cxn ang="0">
                    <a:pos x="2849" y="0"/>
                  </a:cxn>
                  <a:cxn ang="0">
                    <a:pos x="2817" y="16"/>
                  </a:cxn>
                  <a:cxn ang="0">
                    <a:pos x="2773" y="33"/>
                  </a:cxn>
                  <a:cxn ang="0">
                    <a:pos x="2719" y="54"/>
                  </a:cxn>
                  <a:cxn ang="0">
                    <a:pos x="2648" y="76"/>
                  </a:cxn>
                  <a:cxn ang="0">
                    <a:pos x="2572" y="98"/>
                  </a:cxn>
                  <a:cxn ang="0">
                    <a:pos x="2491" y="120"/>
                  </a:cxn>
                  <a:cxn ang="0">
                    <a:pos x="2399" y="147"/>
                  </a:cxn>
                  <a:cxn ang="0">
                    <a:pos x="2301" y="169"/>
                  </a:cxn>
                  <a:cxn ang="0">
                    <a:pos x="2095" y="223"/>
                  </a:cxn>
                  <a:cxn ang="0">
                    <a:pos x="1889" y="277"/>
                  </a:cxn>
                  <a:cxn ang="0">
                    <a:pos x="1688" y="326"/>
                  </a:cxn>
                  <a:cxn ang="0">
                    <a:pos x="1590" y="354"/>
                  </a:cxn>
                  <a:cxn ang="0">
                    <a:pos x="1503" y="381"/>
                  </a:cxn>
                  <a:cxn ang="0">
                    <a:pos x="1107" y="506"/>
                  </a:cxn>
                  <a:cxn ang="0">
                    <a:pos x="912" y="577"/>
                  </a:cxn>
                  <a:cxn ang="0">
                    <a:pos x="727" y="647"/>
                  </a:cxn>
                  <a:cxn ang="0">
                    <a:pos x="548" y="718"/>
                  </a:cxn>
                  <a:cxn ang="0">
                    <a:pos x="380" y="794"/>
                  </a:cxn>
                  <a:cxn ang="0">
                    <a:pos x="228" y="876"/>
                  </a:cxn>
                  <a:cxn ang="0">
                    <a:pos x="92" y="958"/>
                  </a:cxn>
                  <a:cxn ang="0">
                    <a:pos x="92" y="958"/>
                  </a:cxn>
                </a:cxnLst>
                <a:rect l="0" t="0" r="r" b="b"/>
                <a:pathLst>
                  <a:path w="2849" h="969">
                    <a:moveTo>
                      <a:pt x="92" y="958"/>
                    </a:moveTo>
                    <a:lnTo>
                      <a:pt x="0" y="969"/>
                    </a:lnTo>
                    <a:lnTo>
                      <a:pt x="391" y="969"/>
                    </a:lnTo>
                    <a:lnTo>
                      <a:pt x="434" y="947"/>
                    </a:lnTo>
                    <a:lnTo>
                      <a:pt x="483" y="914"/>
                    </a:lnTo>
                    <a:lnTo>
                      <a:pt x="554" y="876"/>
                    </a:lnTo>
                    <a:lnTo>
                      <a:pt x="635" y="838"/>
                    </a:lnTo>
                    <a:lnTo>
                      <a:pt x="727" y="794"/>
                    </a:lnTo>
                    <a:lnTo>
                      <a:pt x="836" y="745"/>
                    </a:lnTo>
                    <a:lnTo>
                      <a:pt x="961" y="696"/>
                    </a:lnTo>
                    <a:lnTo>
                      <a:pt x="1102" y="642"/>
                    </a:lnTo>
                    <a:lnTo>
                      <a:pt x="1259" y="582"/>
                    </a:lnTo>
                    <a:lnTo>
                      <a:pt x="1433" y="522"/>
                    </a:lnTo>
                    <a:lnTo>
                      <a:pt x="1623" y="462"/>
                    </a:lnTo>
                    <a:lnTo>
                      <a:pt x="1829" y="403"/>
                    </a:lnTo>
                    <a:lnTo>
                      <a:pt x="2057" y="343"/>
                    </a:lnTo>
                    <a:lnTo>
                      <a:pt x="2301" y="283"/>
                    </a:lnTo>
                    <a:lnTo>
                      <a:pt x="2567" y="223"/>
                    </a:lnTo>
                    <a:lnTo>
                      <a:pt x="2849" y="163"/>
                    </a:lnTo>
                    <a:lnTo>
                      <a:pt x="2849" y="0"/>
                    </a:lnTo>
                    <a:lnTo>
                      <a:pt x="2817" y="16"/>
                    </a:lnTo>
                    <a:lnTo>
                      <a:pt x="2773" y="33"/>
                    </a:lnTo>
                    <a:lnTo>
                      <a:pt x="2719" y="54"/>
                    </a:lnTo>
                    <a:lnTo>
                      <a:pt x="2648" y="76"/>
                    </a:lnTo>
                    <a:lnTo>
                      <a:pt x="2572" y="98"/>
                    </a:lnTo>
                    <a:lnTo>
                      <a:pt x="2491" y="120"/>
                    </a:lnTo>
                    <a:lnTo>
                      <a:pt x="2399" y="147"/>
                    </a:lnTo>
                    <a:lnTo>
                      <a:pt x="2301" y="169"/>
                    </a:lnTo>
                    <a:lnTo>
                      <a:pt x="2095" y="223"/>
                    </a:lnTo>
                    <a:lnTo>
                      <a:pt x="1889" y="277"/>
                    </a:lnTo>
                    <a:lnTo>
                      <a:pt x="1688" y="326"/>
                    </a:lnTo>
                    <a:lnTo>
                      <a:pt x="1590" y="354"/>
                    </a:lnTo>
                    <a:lnTo>
                      <a:pt x="1503" y="381"/>
                    </a:lnTo>
                    <a:lnTo>
                      <a:pt x="1107" y="506"/>
                    </a:lnTo>
                    <a:lnTo>
                      <a:pt x="912" y="577"/>
                    </a:lnTo>
                    <a:lnTo>
                      <a:pt x="727" y="647"/>
                    </a:lnTo>
                    <a:lnTo>
                      <a:pt x="548" y="718"/>
                    </a:lnTo>
                    <a:lnTo>
                      <a:pt x="380" y="794"/>
                    </a:lnTo>
                    <a:lnTo>
                      <a:pt x="228" y="876"/>
                    </a:lnTo>
                    <a:lnTo>
                      <a:pt x="92" y="958"/>
                    </a:lnTo>
                    <a:lnTo>
                      <a:pt x="92" y="958"/>
                    </a:lnTo>
                    <a:close/>
                  </a:path>
                </a:pathLst>
              </a:custGeom>
              <a:gradFill rotWithShape="0">
                <a:gsLst>
                  <a:gs pos="0">
                    <a:schemeClr val="bg1">
                      <a:gamma/>
                      <a:shade val="81961"/>
                      <a:invGamma/>
                    </a:schemeClr>
                  </a:gs>
                  <a:gs pos="100000">
                    <a:schemeClr val="bg1"/>
                  </a:gs>
                </a:gsLst>
                <a:lin ang="54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11" name="Freeform 9">
                <a:extLst>
                  <a:ext uri="{FF2B5EF4-FFF2-40B4-BE49-F238E27FC236}">
                    <a16:creationId xmlns:a16="http://schemas.microsoft.com/office/drawing/2014/main" id="{54C138E6-8D98-4F68-92E8-177A4A97D9D1}"/>
                  </a:ext>
                </a:extLst>
              </p:cNvPr>
              <p:cNvSpPr>
                <a:spLocks/>
              </p:cNvSpPr>
              <p:nvPr/>
            </p:nvSpPr>
            <p:spPr bwMode="hidden">
              <a:xfrm>
                <a:off x="2748" y="2230"/>
                <a:ext cx="3007" cy="2085"/>
              </a:xfrm>
              <a:custGeom>
                <a:avLst/>
                <a:gdLst>
                  <a:gd name="T0" fmla="*/ 1433 w 3007"/>
                  <a:gd name="T1" fmla="*/ 474 h 2085"/>
                  <a:gd name="T2" fmla="*/ 1460 w 3007"/>
                  <a:gd name="T3" fmla="*/ 528 h 2085"/>
                  <a:gd name="T4" fmla="*/ 1541 w 3007"/>
                  <a:gd name="T5" fmla="*/ 593 h 2085"/>
                  <a:gd name="T6" fmla="*/ 1715 w 3007"/>
                  <a:gd name="T7" fmla="*/ 670 h 2085"/>
                  <a:gd name="T8" fmla="*/ 1927 w 3007"/>
                  <a:gd name="T9" fmla="*/ 735 h 2085"/>
                  <a:gd name="T10" fmla="*/ 2155 w 3007"/>
                  <a:gd name="T11" fmla="*/ 789 h 2085"/>
                  <a:gd name="T12" fmla="*/ 2372 w 3007"/>
                  <a:gd name="T13" fmla="*/ 849 h 2085"/>
                  <a:gd name="T14" fmla="*/ 2551 w 3007"/>
                  <a:gd name="T15" fmla="*/ 920 h 2085"/>
                  <a:gd name="T16" fmla="*/ 2638 w 3007"/>
                  <a:gd name="T17" fmla="*/ 980 h 2085"/>
                  <a:gd name="T18" fmla="*/ 2676 w 3007"/>
                  <a:gd name="T19" fmla="*/ 1029 h 2085"/>
                  <a:gd name="T20" fmla="*/ 2681 w 3007"/>
                  <a:gd name="T21" fmla="*/ 1083 h 2085"/>
                  <a:gd name="T22" fmla="*/ 2665 w 3007"/>
                  <a:gd name="T23" fmla="*/ 1127 h 2085"/>
                  <a:gd name="T24" fmla="*/ 2616 w 3007"/>
                  <a:gd name="T25" fmla="*/ 1170 h 2085"/>
                  <a:gd name="T26" fmla="*/ 2545 w 3007"/>
                  <a:gd name="T27" fmla="*/ 1208 h 2085"/>
                  <a:gd name="T28" fmla="*/ 2448 w 3007"/>
                  <a:gd name="T29" fmla="*/ 1241 h 2085"/>
                  <a:gd name="T30" fmla="*/ 2328 w 3007"/>
                  <a:gd name="T31" fmla="*/ 1274 h 2085"/>
                  <a:gd name="T32" fmla="*/ 2106 w 3007"/>
                  <a:gd name="T33" fmla="*/ 1328 h 2085"/>
                  <a:gd name="T34" fmla="*/ 1742 w 3007"/>
                  <a:gd name="T35" fmla="*/ 1421 h 2085"/>
                  <a:gd name="T36" fmla="*/ 1308 w 3007"/>
                  <a:gd name="T37" fmla="*/ 1540 h 2085"/>
                  <a:gd name="T38" fmla="*/ 820 w 3007"/>
                  <a:gd name="T39" fmla="*/ 1709 h 2085"/>
                  <a:gd name="T40" fmla="*/ 282 w 3007"/>
                  <a:gd name="T41" fmla="*/ 1943 h 2085"/>
                  <a:gd name="T42" fmla="*/ 152 w 3007"/>
                  <a:gd name="T43" fmla="*/ 2085 h 2085"/>
                  <a:gd name="T44" fmla="*/ 386 w 3007"/>
                  <a:gd name="T45" fmla="*/ 1992 h 2085"/>
                  <a:gd name="T46" fmla="*/ 700 w 3007"/>
                  <a:gd name="T47" fmla="*/ 1834 h 2085"/>
                  <a:gd name="T48" fmla="*/ 1064 w 3007"/>
                  <a:gd name="T49" fmla="*/ 1693 h 2085"/>
                  <a:gd name="T50" fmla="*/ 1661 w 3007"/>
                  <a:gd name="T51" fmla="*/ 1497 h 2085"/>
                  <a:gd name="T52" fmla="*/ 1845 w 3007"/>
                  <a:gd name="T53" fmla="*/ 1442 h 2085"/>
                  <a:gd name="T54" fmla="*/ 2252 w 3007"/>
                  <a:gd name="T55" fmla="*/ 1339 h 2085"/>
                  <a:gd name="T56" fmla="*/ 2551 w 3007"/>
                  <a:gd name="T57" fmla="*/ 1263 h 2085"/>
                  <a:gd name="T58" fmla="*/ 2730 w 3007"/>
                  <a:gd name="T59" fmla="*/ 1214 h 2085"/>
                  <a:gd name="T60" fmla="*/ 2876 w 3007"/>
                  <a:gd name="T61" fmla="*/ 1170 h 2085"/>
                  <a:gd name="T62" fmla="*/ 2974 w 3007"/>
                  <a:gd name="T63" fmla="*/ 1132 h 2085"/>
                  <a:gd name="T64" fmla="*/ 3007 w 3007"/>
                  <a:gd name="T65" fmla="*/ 871 h 2085"/>
                  <a:gd name="T66" fmla="*/ 2860 w 3007"/>
                  <a:gd name="T67" fmla="*/ 844 h 2085"/>
                  <a:gd name="T68" fmla="*/ 2670 w 3007"/>
                  <a:gd name="T69" fmla="*/ 806 h 2085"/>
                  <a:gd name="T70" fmla="*/ 2458 w 3007"/>
                  <a:gd name="T71" fmla="*/ 757 h 2085"/>
                  <a:gd name="T72" fmla="*/ 2138 w 3007"/>
                  <a:gd name="T73" fmla="*/ 670 h 2085"/>
                  <a:gd name="T74" fmla="*/ 1959 w 3007"/>
                  <a:gd name="T75" fmla="*/ 604 h 2085"/>
                  <a:gd name="T76" fmla="*/ 1824 w 3007"/>
                  <a:gd name="T77" fmla="*/ 534 h 2085"/>
                  <a:gd name="T78" fmla="*/ 1769 w 3007"/>
                  <a:gd name="T79" fmla="*/ 474 h 2085"/>
                  <a:gd name="T80" fmla="*/ 1753 w 3007"/>
                  <a:gd name="T81" fmla="*/ 436 h 2085"/>
                  <a:gd name="T82" fmla="*/ 1780 w 3007"/>
                  <a:gd name="T83" fmla="*/ 381 h 2085"/>
                  <a:gd name="T84" fmla="*/ 1862 w 3007"/>
                  <a:gd name="T85" fmla="*/ 316 h 2085"/>
                  <a:gd name="T86" fmla="*/ 1986 w 3007"/>
                  <a:gd name="T87" fmla="*/ 267 h 2085"/>
                  <a:gd name="T88" fmla="*/ 2149 w 3007"/>
                  <a:gd name="T89" fmla="*/ 229 h 2085"/>
                  <a:gd name="T90" fmla="*/ 2431 w 3007"/>
                  <a:gd name="T91" fmla="*/ 180 h 2085"/>
                  <a:gd name="T92" fmla="*/ 2827 w 3007"/>
                  <a:gd name="T93" fmla="*/ 125 h 2085"/>
                  <a:gd name="T94" fmla="*/ 3007 w 3007"/>
                  <a:gd name="T95" fmla="*/ 87 h 2085"/>
                  <a:gd name="T96" fmla="*/ 2909 w 3007"/>
                  <a:gd name="T97" fmla="*/ 22 h 2085"/>
                  <a:gd name="T98" fmla="*/ 2676 w 3007"/>
                  <a:gd name="T99" fmla="*/ 66 h 2085"/>
                  <a:gd name="T100" fmla="*/ 2285 w 3007"/>
                  <a:gd name="T101" fmla="*/ 120 h 2085"/>
                  <a:gd name="T102" fmla="*/ 2030 w 3007"/>
                  <a:gd name="T103" fmla="*/ 158 h 2085"/>
                  <a:gd name="T104" fmla="*/ 1791 w 3007"/>
                  <a:gd name="T105" fmla="*/ 202 h 2085"/>
                  <a:gd name="T106" fmla="*/ 1601 w 3007"/>
                  <a:gd name="T107" fmla="*/ 261 h 2085"/>
                  <a:gd name="T108" fmla="*/ 1471 w 3007"/>
                  <a:gd name="T109" fmla="*/ 338 h 2085"/>
                  <a:gd name="T110" fmla="*/ 1438 w 3007"/>
                  <a:gd name="T111" fmla="*/ 387 h 2085"/>
                  <a:gd name="T112" fmla="*/ 1427 w 3007"/>
                  <a:gd name="T113" fmla="*/ 441 h 208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007" h="2085">
                    <a:moveTo>
                      <a:pt x="1427" y="441"/>
                    </a:moveTo>
                    <a:lnTo>
                      <a:pt x="1433" y="474"/>
                    </a:lnTo>
                    <a:lnTo>
                      <a:pt x="1444" y="501"/>
                    </a:lnTo>
                    <a:lnTo>
                      <a:pt x="1460" y="528"/>
                    </a:lnTo>
                    <a:lnTo>
                      <a:pt x="1482" y="550"/>
                    </a:lnTo>
                    <a:lnTo>
                      <a:pt x="1541" y="593"/>
                    </a:lnTo>
                    <a:lnTo>
                      <a:pt x="1623" y="637"/>
                    </a:lnTo>
                    <a:lnTo>
                      <a:pt x="1715" y="670"/>
                    </a:lnTo>
                    <a:lnTo>
                      <a:pt x="1818" y="702"/>
                    </a:lnTo>
                    <a:lnTo>
                      <a:pt x="1927" y="735"/>
                    </a:lnTo>
                    <a:lnTo>
                      <a:pt x="2041" y="762"/>
                    </a:lnTo>
                    <a:lnTo>
                      <a:pt x="2155" y="789"/>
                    </a:lnTo>
                    <a:lnTo>
                      <a:pt x="2269" y="822"/>
                    </a:lnTo>
                    <a:lnTo>
                      <a:pt x="2372" y="849"/>
                    </a:lnTo>
                    <a:lnTo>
                      <a:pt x="2464" y="882"/>
                    </a:lnTo>
                    <a:lnTo>
                      <a:pt x="2551" y="920"/>
                    </a:lnTo>
                    <a:lnTo>
                      <a:pt x="2616" y="958"/>
                    </a:lnTo>
                    <a:lnTo>
                      <a:pt x="2638" y="980"/>
                    </a:lnTo>
                    <a:lnTo>
                      <a:pt x="2659" y="1007"/>
                    </a:lnTo>
                    <a:lnTo>
                      <a:pt x="2676" y="1029"/>
                    </a:lnTo>
                    <a:lnTo>
                      <a:pt x="2681" y="1056"/>
                    </a:lnTo>
                    <a:lnTo>
                      <a:pt x="2681" y="1083"/>
                    </a:lnTo>
                    <a:lnTo>
                      <a:pt x="2676" y="1105"/>
                    </a:lnTo>
                    <a:lnTo>
                      <a:pt x="2665" y="1127"/>
                    </a:lnTo>
                    <a:lnTo>
                      <a:pt x="2643" y="1149"/>
                    </a:lnTo>
                    <a:lnTo>
                      <a:pt x="2616" y="1170"/>
                    </a:lnTo>
                    <a:lnTo>
                      <a:pt x="2583" y="1187"/>
                    </a:lnTo>
                    <a:lnTo>
                      <a:pt x="2545" y="1208"/>
                    </a:lnTo>
                    <a:lnTo>
                      <a:pt x="2502" y="1225"/>
                    </a:lnTo>
                    <a:lnTo>
                      <a:pt x="2448" y="1241"/>
                    </a:lnTo>
                    <a:lnTo>
                      <a:pt x="2388" y="1257"/>
                    </a:lnTo>
                    <a:lnTo>
                      <a:pt x="2328" y="1274"/>
                    </a:lnTo>
                    <a:lnTo>
                      <a:pt x="2258" y="1290"/>
                    </a:lnTo>
                    <a:lnTo>
                      <a:pt x="2106" y="1328"/>
                    </a:lnTo>
                    <a:lnTo>
                      <a:pt x="1932" y="1372"/>
                    </a:lnTo>
                    <a:lnTo>
                      <a:pt x="1742" y="1421"/>
                    </a:lnTo>
                    <a:lnTo>
                      <a:pt x="1531" y="1475"/>
                    </a:lnTo>
                    <a:lnTo>
                      <a:pt x="1308" y="1540"/>
                    </a:lnTo>
                    <a:lnTo>
                      <a:pt x="1069" y="1617"/>
                    </a:lnTo>
                    <a:lnTo>
                      <a:pt x="820" y="1709"/>
                    </a:lnTo>
                    <a:lnTo>
                      <a:pt x="554" y="1818"/>
                    </a:lnTo>
                    <a:lnTo>
                      <a:pt x="282" y="1943"/>
                    </a:lnTo>
                    <a:lnTo>
                      <a:pt x="0" y="2085"/>
                    </a:lnTo>
                    <a:lnTo>
                      <a:pt x="152" y="2085"/>
                    </a:lnTo>
                    <a:lnTo>
                      <a:pt x="244" y="2074"/>
                    </a:lnTo>
                    <a:lnTo>
                      <a:pt x="386" y="1992"/>
                    </a:lnTo>
                    <a:lnTo>
                      <a:pt x="537" y="1910"/>
                    </a:lnTo>
                    <a:lnTo>
                      <a:pt x="700" y="1834"/>
                    </a:lnTo>
                    <a:lnTo>
                      <a:pt x="879" y="1763"/>
                    </a:lnTo>
                    <a:lnTo>
                      <a:pt x="1064" y="1693"/>
                    </a:lnTo>
                    <a:lnTo>
                      <a:pt x="1259" y="1622"/>
                    </a:lnTo>
                    <a:lnTo>
                      <a:pt x="1661" y="1497"/>
                    </a:lnTo>
                    <a:lnTo>
                      <a:pt x="1748" y="1470"/>
                    </a:lnTo>
                    <a:lnTo>
                      <a:pt x="1845" y="1442"/>
                    </a:lnTo>
                    <a:lnTo>
                      <a:pt x="2046" y="1393"/>
                    </a:lnTo>
                    <a:lnTo>
                      <a:pt x="2252" y="1339"/>
                    </a:lnTo>
                    <a:lnTo>
                      <a:pt x="2458" y="1285"/>
                    </a:lnTo>
                    <a:lnTo>
                      <a:pt x="2551" y="1263"/>
                    </a:lnTo>
                    <a:lnTo>
                      <a:pt x="2643" y="1236"/>
                    </a:lnTo>
                    <a:lnTo>
                      <a:pt x="2730" y="1214"/>
                    </a:lnTo>
                    <a:lnTo>
                      <a:pt x="2806" y="1192"/>
                    </a:lnTo>
                    <a:lnTo>
                      <a:pt x="2876" y="1170"/>
                    </a:lnTo>
                    <a:lnTo>
                      <a:pt x="2931" y="1149"/>
                    </a:lnTo>
                    <a:lnTo>
                      <a:pt x="2974" y="1132"/>
                    </a:lnTo>
                    <a:lnTo>
                      <a:pt x="3007" y="1116"/>
                    </a:lnTo>
                    <a:lnTo>
                      <a:pt x="3007" y="871"/>
                    </a:lnTo>
                    <a:lnTo>
                      <a:pt x="2941" y="860"/>
                    </a:lnTo>
                    <a:lnTo>
                      <a:pt x="2860" y="844"/>
                    </a:lnTo>
                    <a:lnTo>
                      <a:pt x="2773" y="827"/>
                    </a:lnTo>
                    <a:lnTo>
                      <a:pt x="2670" y="806"/>
                    </a:lnTo>
                    <a:lnTo>
                      <a:pt x="2567" y="784"/>
                    </a:lnTo>
                    <a:lnTo>
                      <a:pt x="2458" y="757"/>
                    </a:lnTo>
                    <a:lnTo>
                      <a:pt x="2241" y="702"/>
                    </a:lnTo>
                    <a:lnTo>
                      <a:pt x="2138" y="670"/>
                    </a:lnTo>
                    <a:lnTo>
                      <a:pt x="2046" y="637"/>
                    </a:lnTo>
                    <a:lnTo>
                      <a:pt x="1959" y="604"/>
                    </a:lnTo>
                    <a:lnTo>
                      <a:pt x="1883" y="566"/>
                    </a:lnTo>
                    <a:lnTo>
                      <a:pt x="1824" y="534"/>
                    </a:lnTo>
                    <a:lnTo>
                      <a:pt x="1780" y="495"/>
                    </a:lnTo>
                    <a:lnTo>
                      <a:pt x="1769" y="474"/>
                    </a:lnTo>
                    <a:lnTo>
                      <a:pt x="1758" y="457"/>
                    </a:lnTo>
                    <a:lnTo>
                      <a:pt x="1753" y="436"/>
                    </a:lnTo>
                    <a:lnTo>
                      <a:pt x="1758" y="419"/>
                    </a:lnTo>
                    <a:lnTo>
                      <a:pt x="1780" y="381"/>
                    </a:lnTo>
                    <a:lnTo>
                      <a:pt x="1813" y="343"/>
                    </a:lnTo>
                    <a:lnTo>
                      <a:pt x="1862" y="316"/>
                    </a:lnTo>
                    <a:lnTo>
                      <a:pt x="1921" y="289"/>
                    </a:lnTo>
                    <a:lnTo>
                      <a:pt x="1986" y="267"/>
                    </a:lnTo>
                    <a:lnTo>
                      <a:pt x="2062" y="245"/>
                    </a:lnTo>
                    <a:lnTo>
                      <a:pt x="2149" y="229"/>
                    </a:lnTo>
                    <a:lnTo>
                      <a:pt x="2236" y="213"/>
                    </a:lnTo>
                    <a:lnTo>
                      <a:pt x="2431" y="180"/>
                    </a:lnTo>
                    <a:lnTo>
                      <a:pt x="2627" y="158"/>
                    </a:lnTo>
                    <a:lnTo>
                      <a:pt x="2827" y="125"/>
                    </a:lnTo>
                    <a:lnTo>
                      <a:pt x="2920" y="109"/>
                    </a:lnTo>
                    <a:lnTo>
                      <a:pt x="3007" y="87"/>
                    </a:lnTo>
                    <a:lnTo>
                      <a:pt x="3007" y="0"/>
                    </a:lnTo>
                    <a:lnTo>
                      <a:pt x="2909" y="22"/>
                    </a:lnTo>
                    <a:lnTo>
                      <a:pt x="2795" y="44"/>
                    </a:lnTo>
                    <a:lnTo>
                      <a:pt x="2676" y="66"/>
                    </a:lnTo>
                    <a:lnTo>
                      <a:pt x="2551" y="82"/>
                    </a:lnTo>
                    <a:lnTo>
                      <a:pt x="2285" y="120"/>
                    </a:lnTo>
                    <a:lnTo>
                      <a:pt x="2155" y="136"/>
                    </a:lnTo>
                    <a:lnTo>
                      <a:pt x="2030" y="158"/>
                    </a:lnTo>
                    <a:lnTo>
                      <a:pt x="1905" y="174"/>
                    </a:lnTo>
                    <a:lnTo>
                      <a:pt x="1791" y="202"/>
                    </a:lnTo>
                    <a:lnTo>
                      <a:pt x="1688" y="229"/>
                    </a:lnTo>
                    <a:lnTo>
                      <a:pt x="1601" y="261"/>
                    </a:lnTo>
                    <a:lnTo>
                      <a:pt x="1525" y="300"/>
                    </a:lnTo>
                    <a:lnTo>
                      <a:pt x="1471" y="338"/>
                    </a:lnTo>
                    <a:lnTo>
                      <a:pt x="1455" y="359"/>
                    </a:lnTo>
                    <a:lnTo>
                      <a:pt x="1438" y="387"/>
                    </a:lnTo>
                    <a:lnTo>
                      <a:pt x="1427" y="414"/>
                    </a:lnTo>
                    <a:lnTo>
                      <a:pt x="1427" y="4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13" name="Freeform 10">
                <a:extLst>
                  <a:ext uri="{FF2B5EF4-FFF2-40B4-BE49-F238E27FC236}">
                    <a16:creationId xmlns:a16="http://schemas.microsoft.com/office/drawing/2014/main" id="{6351F604-E14E-4EAA-8210-CDBE88554A36}"/>
                  </a:ext>
                </a:extLst>
              </p:cNvPr>
              <p:cNvSpPr>
                <a:spLocks/>
              </p:cNvSpPr>
              <p:nvPr/>
            </p:nvSpPr>
            <p:spPr bwMode="hidden">
              <a:xfrm>
                <a:off x="4501" y="2317"/>
                <a:ext cx="1248" cy="539"/>
              </a:xfrm>
              <a:custGeom>
                <a:avLst/>
                <a:gdLst/>
                <a:ahLst/>
                <a:cxnLst>
                  <a:cxn ang="0">
                    <a:pos x="0" y="332"/>
                  </a:cxn>
                  <a:cxn ang="0">
                    <a:pos x="0" y="360"/>
                  </a:cxn>
                  <a:cxn ang="0">
                    <a:pos x="5" y="387"/>
                  </a:cxn>
                  <a:cxn ang="0">
                    <a:pos x="27" y="414"/>
                  </a:cxn>
                  <a:cxn ang="0">
                    <a:pos x="54" y="436"/>
                  </a:cxn>
                  <a:cxn ang="0">
                    <a:pos x="92" y="463"/>
                  </a:cxn>
                  <a:cxn ang="0">
                    <a:pos x="141" y="490"/>
                  </a:cxn>
                  <a:cxn ang="0">
                    <a:pos x="195" y="512"/>
                  </a:cxn>
                  <a:cxn ang="0">
                    <a:pos x="255" y="539"/>
                  </a:cxn>
                  <a:cxn ang="0">
                    <a:pos x="212" y="517"/>
                  </a:cxn>
                  <a:cxn ang="0">
                    <a:pos x="179" y="490"/>
                  </a:cxn>
                  <a:cxn ang="0">
                    <a:pos x="157" y="468"/>
                  </a:cxn>
                  <a:cxn ang="0">
                    <a:pos x="141" y="447"/>
                  </a:cxn>
                  <a:cxn ang="0">
                    <a:pos x="136" y="425"/>
                  </a:cxn>
                  <a:cxn ang="0">
                    <a:pos x="136" y="403"/>
                  </a:cxn>
                  <a:cxn ang="0">
                    <a:pos x="141" y="381"/>
                  </a:cxn>
                  <a:cxn ang="0">
                    <a:pos x="157" y="365"/>
                  </a:cxn>
                  <a:cxn ang="0">
                    <a:pos x="179" y="343"/>
                  </a:cxn>
                  <a:cxn ang="0">
                    <a:pos x="201" y="327"/>
                  </a:cxn>
                  <a:cxn ang="0">
                    <a:pos x="266" y="294"/>
                  </a:cxn>
                  <a:cxn ang="0">
                    <a:pos x="353" y="262"/>
                  </a:cxn>
                  <a:cxn ang="0">
                    <a:pos x="445" y="234"/>
                  </a:cxn>
                  <a:cxn ang="0">
                    <a:pos x="554" y="213"/>
                  </a:cxn>
                  <a:cxn ang="0">
                    <a:pos x="662" y="191"/>
                  </a:cxn>
                  <a:cxn ang="0">
                    <a:pos x="890" y="153"/>
                  </a:cxn>
                  <a:cxn ang="0">
                    <a:pos x="993" y="136"/>
                  </a:cxn>
                  <a:cxn ang="0">
                    <a:pos x="1091" y="120"/>
                  </a:cxn>
                  <a:cxn ang="0">
                    <a:pos x="1178" y="115"/>
                  </a:cxn>
                  <a:cxn ang="0">
                    <a:pos x="1248" y="104"/>
                  </a:cxn>
                  <a:cxn ang="0">
                    <a:pos x="1248" y="0"/>
                  </a:cxn>
                  <a:cxn ang="0">
                    <a:pos x="1161" y="22"/>
                  </a:cxn>
                  <a:cxn ang="0">
                    <a:pos x="1069" y="38"/>
                  </a:cxn>
                  <a:cxn ang="0">
                    <a:pos x="874" y="71"/>
                  </a:cxn>
                  <a:cxn ang="0">
                    <a:pos x="673" y="93"/>
                  </a:cxn>
                  <a:cxn ang="0">
                    <a:pos x="483" y="126"/>
                  </a:cxn>
                  <a:cxn ang="0">
                    <a:pos x="391" y="142"/>
                  </a:cxn>
                  <a:cxn ang="0">
                    <a:pos x="309" y="158"/>
                  </a:cxn>
                  <a:cxn ang="0">
                    <a:pos x="228" y="180"/>
                  </a:cxn>
                  <a:cxn ang="0">
                    <a:pos x="163" y="202"/>
                  </a:cxn>
                  <a:cxn ang="0">
                    <a:pos x="103" y="229"/>
                  </a:cxn>
                  <a:cxn ang="0">
                    <a:pos x="54" y="256"/>
                  </a:cxn>
                  <a:cxn ang="0">
                    <a:pos x="22" y="294"/>
                  </a:cxn>
                  <a:cxn ang="0">
                    <a:pos x="0" y="332"/>
                  </a:cxn>
                  <a:cxn ang="0">
                    <a:pos x="0" y="332"/>
                  </a:cxn>
                </a:cxnLst>
                <a:rect l="0" t="0" r="r" b="b"/>
                <a:pathLst>
                  <a:path w="1248" h="539">
                    <a:moveTo>
                      <a:pt x="0" y="332"/>
                    </a:moveTo>
                    <a:lnTo>
                      <a:pt x="0" y="360"/>
                    </a:lnTo>
                    <a:lnTo>
                      <a:pt x="5" y="387"/>
                    </a:lnTo>
                    <a:lnTo>
                      <a:pt x="27" y="414"/>
                    </a:lnTo>
                    <a:lnTo>
                      <a:pt x="54" y="436"/>
                    </a:lnTo>
                    <a:lnTo>
                      <a:pt x="92" y="463"/>
                    </a:lnTo>
                    <a:lnTo>
                      <a:pt x="141" y="490"/>
                    </a:lnTo>
                    <a:lnTo>
                      <a:pt x="195" y="512"/>
                    </a:lnTo>
                    <a:lnTo>
                      <a:pt x="255" y="539"/>
                    </a:lnTo>
                    <a:lnTo>
                      <a:pt x="212" y="517"/>
                    </a:lnTo>
                    <a:lnTo>
                      <a:pt x="179" y="490"/>
                    </a:lnTo>
                    <a:lnTo>
                      <a:pt x="157" y="468"/>
                    </a:lnTo>
                    <a:lnTo>
                      <a:pt x="141" y="447"/>
                    </a:lnTo>
                    <a:lnTo>
                      <a:pt x="136" y="425"/>
                    </a:lnTo>
                    <a:lnTo>
                      <a:pt x="136" y="403"/>
                    </a:lnTo>
                    <a:lnTo>
                      <a:pt x="141" y="381"/>
                    </a:lnTo>
                    <a:lnTo>
                      <a:pt x="157" y="365"/>
                    </a:lnTo>
                    <a:lnTo>
                      <a:pt x="179" y="343"/>
                    </a:lnTo>
                    <a:lnTo>
                      <a:pt x="201" y="327"/>
                    </a:lnTo>
                    <a:lnTo>
                      <a:pt x="266" y="294"/>
                    </a:lnTo>
                    <a:lnTo>
                      <a:pt x="353" y="262"/>
                    </a:lnTo>
                    <a:lnTo>
                      <a:pt x="445" y="234"/>
                    </a:lnTo>
                    <a:lnTo>
                      <a:pt x="554" y="213"/>
                    </a:lnTo>
                    <a:lnTo>
                      <a:pt x="662" y="191"/>
                    </a:lnTo>
                    <a:lnTo>
                      <a:pt x="890" y="153"/>
                    </a:lnTo>
                    <a:lnTo>
                      <a:pt x="993" y="136"/>
                    </a:lnTo>
                    <a:lnTo>
                      <a:pt x="1091" y="120"/>
                    </a:lnTo>
                    <a:lnTo>
                      <a:pt x="1178" y="115"/>
                    </a:lnTo>
                    <a:lnTo>
                      <a:pt x="1248" y="104"/>
                    </a:lnTo>
                    <a:lnTo>
                      <a:pt x="1248" y="0"/>
                    </a:lnTo>
                    <a:lnTo>
                      <a:pt x="1161" y="22"/>
                    </a:lnTo>
                    <a:lnTo>
                      <a:pt x="1069" y="38"/>
                    </a:lnTo>
                    <a:lnTo>
                      <a:pt x="874" y="71"/>
                    </a:lnTo>
                    <a:lnTo>
                      <a:pt x="673" y="93"/>
                    </a:lnTo>
                    <a:lnTo>
                      <a:pt x="483" y="126"/>
                    </a:lnTo>
                    <a:lnTo>
                      <a:pt x="391" y="142"/>
                    </a:lnTo>
                    <a:lnTo>
                      <a:pt x="309" y="158"/>
                    </a:lnTo>
                    <a:lnTo>
                      <a:pt x="228" y="180"/>
                    </a:lnTo>
                    <a:lnTo>
                      <a:pt x="163" y="202"/>
                    </a:lnTo>
                    <a:lnTo>
                      <a:pt x="103" y="229"/>
                    </a:lnTo>
                    <a:lnTo>
                      <a:pt x="54" y="256"/>
                    </a:lnTo>
                    <a:lnTo>
                      <a:pt x="22" y="294"/>
                    </a:lnTo>
                    <a:lnTo>
                      <a:pt x="0" y="332"/>
                    </a:lnTo>
                    <a:lnTo>
                      <a:pt x="0" y="332"/>
                    </a:lnTo>
                    <a:close/>
                  </a:path>
                </a:pathLst>
              </a:custGeom>
              <a:gradFill rotWithShape="0">
                <a:gsLst>
                  <a:gs pos="0">
                    <a:schemeClr val="bg1">
                      <a:gamma/>
                      <a:shade val="87843"/>
                      <a:invGamma/>
                    </a:schemeClr>
                  </a:gs>
                  <a:gs pos="100000">
                    <a:schemeClr val="bg1"/>
                  </a:gs>
                </a:gsLst>
                <a:lin ang="27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grpSp>
        <p:sp>
          <p:nvSpPr>
            <p:cNvPr id="6" name="Freeform 11">
              <a:extLst>
                <a:ext uri="{FF2B5EF4-FFF2-40B4-BE49-F238E27FC236}">
                  <a16:creationId xmlns:a16="http://schemas.microsoft.com/office/drawing/2014/main" id="{F529DC3C-AB8D-4A36-8F71-BC420F189FD7}"/>
                </a:ext>
              </a:extLst>
            </p:cNvPr>
            <p:cNvSpPr>
              <a:spLocks/>
            </p:cNvSpPr>
            <p:nvPr/>
          </p:nvSpPr>
          <p:spPr bwMode="hidden">
            <a:xfrm>
              <a:off x="3322" y="1341"/>
              <a:ext cx="1825" cy="1537"/>
            </a:xfrm>
            <a:custGeom>
              <a:avLst/>
              <a:gdLst/>
              <a:ahLst/>
              <a:cxnLst>
                <a:cxn ang="0">
                  <a:pos x="982" y="1061"/>
                </a:cxn>
                <a:cxn ang="0">
                  <a:pos x="1357" y="1012"/>
                </a:cxn>
                <a:cxn ang="0">
                  <a:pos x="1666" y="957"/>
                </a:cxn>
                <a:cxn ang="0">
                  <a:pos x="1916" y="897"/>
                </a:cxn>
                <a:cxn ang="0">
                  <a:pos x="2100" y="832"/>
                </a:cxn>
                <a:cxn ang="0">
                  <a:pos x="2220" y="756"/>
                </a:cxn>
                <a:cxn ang="0">
                  <a:pos x="2285" y="669"/>
                </a:cxn>
                <a:cxn ang="0">
                  <a:pos x="2290" y="560"/>
                </a:cxn>
                <a:cxn ang="0">
                  <a:pos x="2241" y="457"/>
                </a:cxn>
                <a:cxn ang="0">
                  <a:pos x="2144" y="364"/>
                </a:cxn>
                <a:cxn ang="0">
                  <a:pos x="2008" y="277"/>
                </a:cxn>
                <a:cxn ang="0">
                  <a:pos x="1769" y="157"/>
                </a:cxn>
                <a:cxn ang="0">
                  <a:pos x="1612" y="92"/>
                </a:cxn>
                <a:cxn ang="0">
                  <a:pos x="1476" y="43"/>
                </a:cxn>
                <a:cxn ang="0">
                  <a:pos x="1384" y="10"/>
                </a:cxn>
                <a:cxn ang="0">
                  <a:pos x="1346" y="0"/>
                </a:cxn>
                <a:cxn ang="0">
                  <a:pos x="1655" y="119"/>
                </a:cxn>
                <a:cxn ang="0">
                  <a:pos x="1948" y="255"/>
                </a:cxn>
                <a:cxn ang="0">
                  <a:pos x="2068" y="326"/>
                </a:cxn>
                <a:cxn ang="0">
                  <a:pos x="2171" y="402"/>
                </a:cxn>
                <a:cxn ang="0">
                  <a:pos x="2236" y="478"/>
                </a:cxn>
                <a:cxn ang="0">
                  <a:pos x="2263" y="560"/>
                </a:cxn>
                <a:cxn ang="0">
                  <a:pos x="2241" y="636"/>
                </a:cxn>
                <a:cxn ang="0">
                  <a:pos x="2171" y="702"/>
                </a:cxn>
                <a:cxn ang="0">
                  <a:pos x="2062" y="756"/>
                </a:cxn>
                <a:cxn ang="0">
                  <a:pos x="1921" y="800"/>
                </a:cxn>
                <a:cxn ang="0">
                  <a:pos x="1748" y="843"/>
                </a:cxn>
                <a:cxn ang="0">
                  <a:pos x="1351" y="908"/>
                </a:cxn>
                <a:cxn ang="0">
                  <a:pos x="923" y="968"/>
                </a:cxn>
                <a:cxn ang="0">
                  <a:pos x="521" y="1028"/>
                </a:cxn>
                <a:cxn ang="0">
                  <a:pos x="353" y="1066"/>
                </a:cxn>
                <a:cxn ang="0">
                  <a:pos x="206" y="1104"/>
                </a:cxn>
                <a:cxn ang="0">
                  <a:pos x="92" y="1148"/>
                </a:cxn>
                <a:cxn ang="0">
                  <a:pos x="22" y="1202"/>
                </a:cxn>
                <a:cxn ang="0">
                  <a:pos x="0" y="1262"/>
                </a:cxn>
                <a:cxn ang="0">
                  <a:pos x="27" y="1327"/>
                </a:cxn>
                <a:cxn ang="0">
                  <a:pos x="98" y="1382"/>
                </a:cxn>
                <a:cxn ang="0">
                  <a:pos x="196" y="1425"/>
                </a:cxn>
                <a:cxn ang="0">
                  <a:pos x="326" y="1469"/>
                </a:cxn>
                <a:cxn ang="0">
                  <a:pos x="217" y="1414"/>
                </a:cxn>
                <a:cxn ang="0">
                  <a:pos x="147" y="1360"/>
                </a:cxn>
                <a:cxn ang="0">
                  <a:pos x="120" y="1306"/>
                </a:cxn>
                <a:cxn ang="0">
                  <a:pos x="141" y="1257"/>
                </a:cxn>
                <a:cxn ang="0">
                  <a:pos x="212" y="1208"/>
                </a:cxn>
                <a:cxn ang="0">
                  <a:pos x="342" y="1164"/>
                </a:cxn>
                <a:cxn ang="0">
                  <a:pos x="527" y="1121"/>
                </a:cxn>
                <a:cxn ang="0">
                  <a:pos x="771" y="1088"/>
                </a:cxn>
              </a:cxnLst>
              <a:rect l="0" t="0" r="r" b="b"/>
              <a:pathLst>
                <a:path w="2296" h="1469">
                  <a:moveTo>
                    <a:pt x="771" y="1088"/>
                  </a:moveTo>
                  <a:lnTo>
                    <a:pt x="982" y="1061"/>
                  </a:lnTo>
                  <a:lnTo>
                    <a:pt x="1178" y="1034"/>
                  </a:lnTo>
                  <a:lnTo>
                    <a:pt x="1357" y="1012"/>
                  </a:lnTo>
                  <a:lnTo>
                    <a:pt x="1520" y="985"/>
                  </a:lnTo>
                  <a:lnTo>
                    <a:pt x="1666" y="957"/>
                  </a:lnTo>
                  <a:lnTo>
                    <a:pt x="1796" y="930"/>
                  </a:lnTo>
                  <a:lnTo>
                    <a:pt x="1916" y="897"/>
                  </a:lnTo>
                  <a:lnTo>
                    <a:pt x="2013" y="870"/>
                  </a:lnTo>
                  <a:lnTo>
                    <a:pt x="2100" y="832"/>
                  </a:lnTo>
                  <a:lnTo>
                    <a:pt x="2171" y="800"/>
                  </a:lnTo>
                  <a:lnTo>
                    <a:pt x="2220" y="756"/>
                  </a:lnTo>
                  <a:lnTo>
                    <a:pt x="2263" y="712"/>
                  </a:lnTo>
                  <a:lnTo>
                    <a:pt x="2285" y="669"/>
                  </a:lnTo>
                  <a:lnTo>
                    <a:pt x="2296" y="614"/>
                  </a:lnTo>
                  <a:lnTo>
                    <a:pt x="2290" y="560"/>
                  </a:lnTo>
                  <a:lnTo>
                    <a:pt x="2269" y="500"/>
                  </a:lnTo>
                  <a:lnTo>
                    <a:pt x="2241" y="457"/>
                  </a:lnTo>
                  <a:lnTo>
                    <a:pt x="2198" y="408"/>
                  </a:lnTo>
                  <a:lnTo>
                    <a:pt x="2144" y="364"/>
                  </a:lnTo>
                  <a:lnTo>
                    <a:pt x="2079" y="321"/>
                  </a:lnTo>
                  <a:lnTo>
                    <a:pt x="2008" y="277"/>
                  </a:lnTo>
                  <a:lnTo>
                    <a:pt x="1927" y="234"/>
                  </a:lnTo>
                  <a:lnTo>
                    <a:pt x="1769" y="157"/>
                  </a:lnTo>
                  <a:lnTo>
                    <a:pt x="1688" y="125"/>
                  </a:lnTo>
                  <a:lnTo>
                    <a:pt x="1612" y="92"/>
                  </a:lnTo>
                  <a:lnTo>
                    <a:pt x="1536" y="65"/>
                  </a:lnTo>
                  <a:lnTo>
                    <a:pt x="1476" y="43"/>
                  </a:lnTo>
                  <a:lnTo>
                    <a:pt x="1422" y="27"/>
                  </a:lnTo>
                  <a:lnTo>
                    <a:pt x="1384" y="10"/>
                  </a:lnTo>
                  <a:lnTo>
                    <a:pt x="1357" y="5"/>
                  </a:lnTo>
                  <a:lnTo>
                    <a:pt x="1346" y="0"/>
                  </a:lnTo>
                  <a:lnTo>
                    <a:pt x="1498" y="54"/>
                  </a:lnTo>
                  <a:lnTo>
                    <a:pt x="1655" y="119"/>
                  </a:lnTo>
                  <a:lnTo>
                    <a:pt x="1807" y="185"/>
                  </a:lnTo>
                  <a:lnTo>
                    <a:pt x="1948" y="255"/>
                  </a:lnTo>
                  <a:lnTo>
                    <a:pt x="2013" y="288"/>
                  </a:lnTo>
                  <a:lnTo>
                    <a:pt x="2068" y="326"/>
                  </a:lnTo>
                  <a:lnTo>
                    <a:pt x="2122" y="364"/>
                  </a:lnTo>
                  <a:lnTo>
                    <a:pt x="2171" y="402"/>
                  </a:lnTo>
                  <a:lnTo>
                    <a:pt x="2209" y="440"/>
                  </a:lnTo>
                  <a:lnTo>
                    <a:pt x="2236" y="478"/>
                  </a:lnTo>
                  <a:lnTo>
                    <a:pt x="2252" y="522"/>
                  </a:lnTo>
                  <a:lnTo>
                    <a:pt x="2263" y="560"/>
                  </a:lnTo>
                  <a:lnTo>
                    <a:pt x="2258" y="598"/>
                  </a:lnTo>
                  <a:lnTo>
                    <a:pt x="2241" y="636"/>
                  </a:lnTo>
                  <a:lnTo>
                    <a:pt x="2214" y="669"/>
                  </a:lnTo>
                  <a:lnTo>
                    <a:pt x="2171" y="702"/>
                  </a:lnTo>
                  <a:lnTo>
                    <a:pt x="2122" y="729"/>
                  </a:lnTo>
                  <a:lnTo>
                    <a:pt x="2062" y="756"/>
                  </a:lnTo>
                  <a:lnTo>
                    <a:pt x="1997" y="778"/>
                  </a:lnTo>
                  <a:lnTo>
                    <a:pt x="1921" y="800"/>
                  </a:lnTo>
                  <a:lnTo>
                    <a:pt x="1834" y="821"/>
                  </a:lnTo>
                  <a:lnTo>
                    <a:pt x="1748" y="843"/>
                  </a:lnTo>
                  <a:lnTo>
                    <a:pt x="1552" y="876"/>
                  </a:lnTo>
                  <a:lnTo>
                    <a:pt x="1351" y="908"/>
                  </a:lnTo>
                  <a:lnTo>
                    <a:pt x="1134" y="941"/>
                  </a:lnTo>
                  <a:lnTo>
                    <a:pt x="923" y="968"/>
                  </a:lnTo>
                  <a:lnTo>
                    <a:pt x="716" y="995"/>
                  </a:lnTo>
                  <a:lnTo>
                    <a:pt x="521" y="1028"/>
                  </a:lnTo>
                  <a:lnTo>
                    <a:pt x="434" y="1044"/>
                  </a:lnTo>
                  <a:lnTo>
                    <a:pt x="353" y="1066"/>
                  </a:lnTo>
                  <a:lnTo>
                    <a:pt x="277" y="1082"/>
                  </a:lnTo>
                  <a:lnTo>
                    <a:pt x="206" y="1104"/>
                  </a:lnTo>
                  <a:lnTo>
                    <a:pt x="147" y="1126"/>
                  </a:lnTo>
                  <a:lnTo>
                    <a:pt x="92" y="1148"/>
                  </a:lnTo>
                  <a:lnTo>
                    <a:pt x="54" y="1175"/>
                  </a:lnTo>
                  <a:lnTo>
                    <a:pt x="22" y="1202"/>
                  </a:lnTo>
                  <a:lnTo>
                    <a:pt x="6" y="1229"/>
                  </a:lnTo>
                  <a:lnTo>
                    <a:pt x="0" y="1262"/>
                  </a:lnTo>
                  <a:lnTo>
                    <a:pt x="11" y="1295"/>
                  </a:lnTo>
                  <a:lnTo>
                    <a:pt x="27" y="1327"/>
                  </a:lnTo>
                  <a:lnTo>
                    <a:pt x="54" y="1355"/>
                  </a:lnTo>
                  <a:lnTo>
                    <a:pt x="98" y="1382"/>
                  </a:lnTo>
                  <a:lnTo>
                    <a:pt x="141" y="1404"/>
                  </a:lnTo>
                  <a:lnTo>
                    <a:pt x="196" y="1425"/>
                  </a:lnTo>
                  <a:lnTo>
                    <a:pt x="261" y="1447"/>
                  </a:lnTo>
                  <a:lnTo>
                    <a:pt x="326" y="1469"/>
                  </a:lnTo>
                  <a:lnTo>
                    <a:pt x="266" y="1442"/>
                  </a:lnTo>
                  <a:lnTo>
                    <a:pt x="217" y="1414"/>
                  </a:lnTo>
                  <a:lnTo>
                    <a:pt x="174" y="1387"/>
                  </a:lnTo>
                  <a:lnTo>
                    <a:pt x="147" y="1360"/>
                  </a:lnTo>
                  <a:lnTo>
                    <a:pt x="125" y="1333"/>
                  </a:lnTo>
                  <a:lnTo>
                    <a:pt x="120" y="1306"/>
                  </a:lnTo>
                  <a:lnTo>
                    <a:pt x="125" y="1278"/>
                  </a:lnTo>
                  <a:lnTo>
                    <a:pt x="141" y="1257"/>
                  </a:lnTo>
                  <a:lnTo>
                    <a:pt x="174" y="1229"/>
                  </a:lnTo>
                  <a:lnTo>
                    <a:pt x="212" y="1208"/>
                  </a:lnTo>
                  <a:lnTo>
                    <a:pt x="272" y="1186"/>
                  </a:lnTo>
                  <a:lnTo>
                    <a:pt x="342" y="1164"/>
                  </a:lnTo>
                  <a:lnTo>
                    <a:pt x="423" y="1142"/>
                  </a:lnTo>
                  <a:lnTo>
                    <a:pt x="527" y="1121"/>
                  </a:lnTo>
                  <a:lnTo>
                    <a:pt x="641" y="1104"/>
                  </a:lnTo>
                  <a:lnTo>
                    <a:pt x="771" y="1088"/>
                  </a:lnTo>
                  <a:lnTo>
                    <a:pt x="771" y="1088"/>
                  </a:lnTo>
                  <a:close/>
                </a:path>
              </a:pathLst>
            </a:custGeom>
            <a:gradFill rotWithShape="0">
              <a:gsLst>
                <a:gs pos="0">
                  <a:schemeClr val="bg1">
                    <a:gamma/>
                    <a:shade val="84706"/>
                    <a:invGamma/>
                  </a:schemeClr>
                </a:gs>
                <a:gs pos="100000">
                  <a:schemeClr val="bg1"/>
                </a:gs>
              </a:gsLst>
              <a:lin ang="27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7" name="Freeform 12">
              <a:extLst>
                <a:ext uri="{FF2B5EF4-FFF2-40B4-BE49-F238E27FC236}">
                  <a16:creationId xmlns:a16="http://schemas.microsoft.com/office/drawing/2014/main" id="{EC5EBD32-E7A0-48F9-A1D4-0D260C724BFD}"/>
                </a:ext>
              </a:extLst>
            </p:cNvPr>
            <p:cNvSpPr>
              <a:spLocks/>
            </p:cNvSpPr>
            <p:nvPr/>
          </p:nvSpPr>
          <p:spPr bwMode="hidden">
            <a:xfrm>
              <a:off x="0" y="0"/>
              <a:ext cx="5758" cy="1776"/>
            </a:xfrm>
            <a:custGeom>
              <a:avLst/>
              <a:gdLst>
                <a:gd name="T0" fmla="*/ 0 w 5740"/>
                <a:gd name="T1" fmla="*/ 0 h 1906"/>
                <a:gd name="T2" fmla="*/ 0 w 5740"/>
                <a:gd name="T3" fmla="*/ 1906 h 1906"/>
                <a:gd name="T4" fmla="*/ 5740 w 5740"/>
                <a:gd name="T5" fmla="*/ 1906 h 1906"/>
                <a:gd name="T6" fmla="*/ 5740 w 5740"/>
                <a:gd name="T7" fmla="*/ 0 h 1906"/>
                <a:gd name="T8" fmla="*/ 0 w 5740"/>
                <a:gd name="T9" fmla="*/ 0 h 1906"/>
                <a:gd name="T10" fmla="*/ 0 w 5740"/>
                <a:gd name="T11" fmla="*/ 0 h 190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740" h="1906">
                  <a:moveTo>
                    <a:pt x="0" y="0"/>
                  </a:moveTo>
                  <a:lnTo>
                    <a:pt x="0" y="1906"/>
                  </a:lnTo>
                  <a:lnTo>
                    <a:pt x="5740" y="1906"/>
                  </a:lnTo>
                  <a:lnTo>
                    <a:pt x="5740" y="0"/>
                  </a:lnTo>
                  <a:lnTo>
                    <a:pt x="0" y="0"/>
                  </a:lnTo>
                  <a:close/>
                </a:path>
              </a:pathLst>
            </a:custGeom>
            <a:gradFill rotWithShape="0">
              <a:gsLst>
                <a:gs pos="0">
                  <a:schemeClr val="bg2"/>
                </a:gs>
                <a:gs pos="100000">
                  <a:schemeClr val="bg1"/>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grpSp>
      <p:sp>
        <p:nvSpPr>
          <p:cNvPr id="14" name="Text Box 16">
            <a:extLst>
              <a:ext uri="{FF2B5EF4-FFF2-40B4-BE49-F238E27FC236}">
                <a16:creationId xmlns:a16="http://schemas.microsoft.com/office/drawing/2014/main" id="{E5B7A35D-32F4-43B1-BD83-5115A593CA07}"/>
              </a:ext>
            </a:extLst>
          </p:cNvPr>
          <p:cNvSpPr txBox="1">
            <a:spLocks noChangeArrowheads="1"/>
          </p:cNvSpPr>
          <p:nvPr/>
        </p:nvSpPr>
        <p:spPr bwMode="auto">
          <a:xfrm>
            <a:off x="8305800" y="304802"/>
            <a:ext cx="5334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eaLnBrk="0" hangingPunct="0">
              <a:spcBef>
                <a:spcPct val="50000"/>
              </a:spcBef>
            </a:pPr>
            <a:endParaRPr lang="en-US" altLang="en-US" sz="1800">
              <a:solidFill>
                <a:srgbClr val="FFFFFF"/>
              </a:solidFill>
            </a:endParaRPr>
          </a:p>
        </p:txBody>
      </p:sp>
      <p:sp>
        <p:nvSpPr>
          <p:cNvPr id="15" name="Text Box 17">
            <a:extLst>
              <a:ext uri="{FF2B5EF4-FFF2-40B4-BE49-F238E27FC236}">
                <a16:creationId xmlns:a16="http://schemas.microsoft.com/office/drawing/2014/main" id="{9DF2018C-C41D-4A8D-BC12-CD9BF05237FF}"/>
              </a:ext>
            </a:extLst>
          </p:cNvPr>
          <p:cNvSpPr txBox="1">
            <a:spLocks noChangeArrowheads="1"/>
          </p:cNvSpPr>
          <p:nvPr/>
        </p:nvSpPr>
        <p:spPr bwMode="auto">
          <a:xfrm>
            <a:off x="8686800" y="228600"/>
            <a:ext cx="4572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eaLnBrk="0" hangingPunct="0">
              <a:spcBef>
                <a:spcPct val="50000"/>
              </a:spcBef>
            </a:pPr>
            <a:fld id="{79B88AEA-D326-4EE3-BCA2-D25F91DDE5B8}" type="slidenum">
              <a:rPr lang="en-US" altLang="en-US" sz="1800">
                <a:solidFill>
                  <a:srgbClr val="FFFFFF"/>
                </a:solidFill>
              </a:rPr>
              <a:pPr eaLnBrk="0" hangingPunct="0">
                <a:spcBef>
                  <a:spcPct val="50000"/>
                </a:spcBef>
              </a:pPr>
              <a:t>‹#›</a:t>
            </a:fld>
            <a:endParaRPr lang="en-US" altLang="en-US" sz="1800">
              <a:solidFill>
                <a:srgbClr val="FFFFFF"/>
              </a:solidFill>
            </a:endParaRPr>
          </a:p>
        </p:txBody>
      </p:sp>
      <p:graphicFrame>
        <p:nvGraphicFramePr>
          <p:cNvPr id="16" name="Object 18">
            <a:extLst>
              <a:ext uri="{FF2B5EF4-FFF2-40B4-BE49-F238E27FC236}">
                <a16:creationId xmlns:a16="http://schemas.microsoft.com/office/drawing/2014/main" id="{ED6251D1-DAF0-4C6C-A0D8-43CEF3CF7E05}"/>
              </a:ext>
            </a:extLst>
          </p:cNvPr>
          <p:cNvGraphicFramePr>
            <a:graphicFrameLocks noChangeAspect="1"/>
          </p:cNvGraphicFramePr>
          <p:nvPr/>
        </p:nvGraphicFramePr>
        <p:xfrm>
          <a:off x="7239000" y="5918200"/>
          <a:ext cx="1905000" cy="939800"/>
        </p:xfrm>
        <a:graphic>
          <a:graphicData uri="http://schemas.openxmlformats.org/presentationml/2006/ole">
            <mc:AlternateContent xmlns:mc="http://schemas.openxmlformats.org/markup-compatibility/2006">
              <mc:Choice xmlns:v="urn:schemas-microsoft-com:vml" Requires="v">
                <p:oleObj spid="_x0000_s1026" name="Bitmap Image" r:id="rId4" imgW="2142857" imgH="1057423" progId="Paint.Picture">
                  <p:embed/>
                </p:oleObj>
              </mc:Choice>
              <mc:Fallback>
                <p:oleObj name="Bitmap Image" r:id="rId4" imgW="2142857" imgH="1057423" progId="Paint.Picture">
                  <p:embed/>
                  <p:pic>
                    <p:nvPicPr>
                      <p:cNvPr id="16" name="Object 18">
                        <a:extLst>
                          <a:ext uri="{FF2B5EF4-FFF2-40B4-BE49-F238E27FC236}">
                            <a16:creationId xmlns:a16="http://schemas.microsoft.com/office/drawing/2014/main" id="{ED6251D1-DAF0-4C6C-A0D8-43CEF3CF7E0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239000" y="5918200"/>
                        <a:ext cx="1905000" cy="939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7" name="Object 2">
            <a:extLst>
              <a:ext uri="{FF2B5EF4-FFF2-40B4-BE49-F238E27FC236}">
                <a16:creationId xmlns:a16="http://schemas.microsoft.com/office/drawing/2014/main" id="{DC664330-F86E-4691-9557-98A096B51DEF}"/>
              </a:ext>
            </a:extLst>
          </p:cNvPr>
          <p:cNvGraphicFramePr>
            <a:graphicFrameLocks noChangeAspect="1"/>
          </p:cNvGraphicFramePr>
          <p:nvPr>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027" name="think-cell Slide" r:id="rId6" imgW="360" imgH="360" progId="">
                  <p:embed/>
                </p:oleObj>
              </mc:Choice>
              <mc:Fallback>
                <p:oleObj name="think-cell Slide" r:id="rId6" imgW="360" imgH="360" progId="">
                  <p:embed/>
                  <p:pic>
                    <p:nvPicPr>
                      <p:cNvPr id="17" name="Object 2">
                        <a:extLst>
                          <a:ext uri="{FF2B5EF4-FFF2-40B4-BE49-F238E27FC236}">
                            <a16:creationId xmlns:a16="http://schemas.microsoft.com/office/drawing/2014/main" id="{DC664330-F86E-4691-9557-98A096B51DE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9" y="1590"/>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8" name="Flowchart: Process 17">
            <a:extLst>
              <a:ext uri="{FF2B5EF4-FFF2-40B4-BE49-F238E27FC236}">
                <a16:creationId xmlns:a16="http://schemas.microsoft.com/office/drawing/2014/main" id="{6C31B6A4-50F3-40F4-B08E-F0B1875ACE9B}"/>
              </a:ext>
            </a:extLst>
          </p:cNvPr>
          <p:cNvSpPr/>
          <p:nvPr userDrawn="1"/>
        </p:nvSpPr>
        <p:spPr>
          <a:xfrm>
            <a:off x="250825" y="908050"/>
            <a:ext cx="2808288" cy="46038"/>
          </a:xfrm>
          <a:prstGeom prst="flowChartProcess">
            <a:avLst/>
          </a:prstGeom>
          <a:solidFill>
            <a:srgbClr val="9B9B9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GB" sz="1800">
              <a:solidFill>
                <a:srgbClr val="FFFFFF"/>
              </a:solidFill>
            </a:endParaRPr>
          </a:p>
        </p:txBody>
      </p:sp>
      <p:sp>
        <p:nvSpPr>
          <p:cNvPr id="19" name="Flowchart: Process 18">
            <a:extLst>
              <a:ext uri="{FF2B5EF4-FFF2-40B4-BE49-F238E27FC236}">
                <a16:creationId xmlns:a16="http://schemas.microsoft.com/office/drawing/2014/main" id="{921DA94A-D855-469E-8060-1F43FCCE196C}"/>
              </a:ext>
            </a:extLst>
          </p:cNvPr>
          <p:cNvSpPr/>
          <p:nvPr userDrawn="1"/>
        </p:nvSpPr>
        <p:spPr>
          <a:xfrm>
            <a:off x="2600325" y="908050"/>
            <a:ext cx="1703388" cy="46038"/>
          </a:xfrm>
          <a:prstGeom prst="flowChartProcess">
            <a:avLst/>
          </a:prstGeom>
          <a:solidFill>
            <a:srgbClr val="BDBDB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GB" sz="1800">
              <a:solidFill>
                <a:srgbClr val="FFFFFF"/>
              </a:solidFill>
            </a:endParaRPr>
          </a:p>
        </p:txBody>
      </p:sp>
      <p:sp>
        <p:nvSpPr>
          <p:cNvPr id="20" name="Flowchart: Process 19">
            <a:extLst>
              <a:ext uri="{FF2B5EF4-FFF2-40B4-BE49-F238E27FC236}">
                <a16:creationId xmlns:a16="http://schemas.microsoft.com/office/drawing/2014/main" id="{E3AE0E8D-0392-4E19-8E31-BB7E35A5D7DF}"/>
              </a:ext>
            </a:extLst>
          </p:cNvPr>
          <p:cNvSpPr/>
          <p:nvPr userDrawn="1"/>
        </p:nvSpPr>
        <p:spPr>
          <a:xfrm>
            <a:off x="4303714" y="908050"/>
            <a:ext cx="1703387" cy="46038"/>
          </a:xfrm>
          <a:prstGeom prst="flowChartProcess">
            <a:avLst/>
          </a:prstGeom>
          <a:solidFill>
            <a:srgbClr val="DEDED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GB" sz="1800">
              <a:solidFill>
                <a:srgbClr val="FFFFFF"/>
              </a:solidFill>
            </a:endParaRPr>
          </a:p>
        </p:txBody>
      </p:sp>
      <p:sp>
        <p:nvSpPr>
          <p:cNvPr id="21" name="TextBox 29">
            <a:extLst>
              <a:ext uri="{FF2B5EF4-FFF2-40B4-BE49-F238E27FC236}">
                <a16:creationId xmlns:a16="http://schemas.microsoft.com/office/drawing/2014/main" id="{D4DF3043-CEDC-4450-BC74-C382FFB9E5FD}"/>
              </a:ext>
            </a:extLst>
          </p:cNvPr>
          <p:cNvSpPr txBox="1">
            <a:spLocks noChangeArrowheads="1"/>
          </p:cNvSpPr>
          <p:nvPr userDrawn="1"/>
        </p:nvSpPr>
        <p:spPr bwMode="auto">
          <a:xfrm>
            <a:off x="381001" y="6438900"/>
            <a:ext cx="504825" cy="306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eaLnBrk="0" hangingPunct="0"/>
            <a:fld id="{AE47310D-74EE-4380-B219-541613B126C9}" type="slidenum">
              <a:rPr lang="en-GB" altLang="en-US" sz="1400">
                <a:solidFill>
                  <a:srgbClr val="FFFFFF"/>
                </a:solidFill>
                <a:latin typeface="Arial" panose="020B0604020202020204" pitchFamily="34" charset="0"/>
              </a:rPr>
              <a:pPr eaLnBrk="0" hangingPunct="0"/>
              <a:t>‹#›</a:t>
            </a:fld>
            <a:endParaRPr lang="en-GB" altLang="en-US" sz="1800">
              <a:solidFill>
                <a:srgbClr val="FFFFFF"/>
              </a:solidFill>
              <a:latin typeface="Arial" panose="020B0604020202020204" pitchFamily="34" charset="0"/>
            </a:endParaRPr>
          </a:p>
        </p:txBody>
      </p:sp>
      <p:sp>
        <p:nvSpPr>
          <p:cNvPr id="3" name="Subtitle 2"/>
          <p:cNvSpPr>
            <a:spLocks noGrp="1"/>
          </p:cNvSpPr>
          <p:nvPr>
            <p:ph type="subTitle" idx="1"/>
          </p:nvPr>
        </p:nvSpPr>
        <p:spPr>
          <a:xfrm>
            <a:off x="251521" y="476672"/>
            <a:ext cx="7416824" cy="360040"/>
          </a:xfrm>
          <a:prstGeom prst="rect">
            <a:avLst/>
          </a:prstGeom>
        </p:spPr>
        <p:txBody>
          <a:bodyPr anchor="b">
            <a:noAutofit/>
          </a:bodyPr>
          <a:lstStyle>
            <a:lvl1pPr marL="0" indent="0" algn="l">
              <a:buNone/>
              <a:defRPr sz="1800" b="1" baseline="0">
                <a:solidFill>
                  <a:schemeClr val="tx1">
                    <a:lumMod val="75000"/>
                    <a:lumOff val="25000"/>
                  </a:schemeClr>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sp>
        <p:nvSpPr>
          <p:cNvPr id="12" name="Text Placeholder 11"/>
          <p:cNvSpPr>
            <a:spLocks noGrp="1"/>
          </p:cNvSpPr>
          <p:nvPr>
            <p:ph type="body" sz="quarter" idx="10"/>
          </p:nvPr>
        </p:nvSpPr>
        <p:spPr>
          <a:xfrm>
            <a:off x="251520" y="1989138"/>
            <a:ext cx="8713788" cy="4320182"/>
          </a:xfrm>
          <a:prstGeom prst="rect">
            <a:avLst/>
          </a:prstGeom>
        </p:spPr>
        <p:txBody>
          <a:bodyPr/>
          <a:lstStyle>
            <a:lvl1pPr marL="342900" indent="-342900">
              <a:buFont typeface="Arial" panose="020B0604020202020204" pitchFamily="34" charset="0"/>
              <a:buChar char="•"/>
              <a:defRPr sz="1600" b="0" baseline="0">
                <a:latin typeface="Arial" panose="020B0604020202020204" pitchFamily="34" charset="0"/>
                <a:cs typeface="Arial" panose="020B0604020202020204" pitchFamily="34" charset="0"/>
              </a:defRPr>
            </a:lvl1pPr>
            <a:lvl2pPr>
              <a:defRPr sz="2400">
                <a:latin typeface="Arial" panose="020B0604020202020204" pitchFamily="34" charset="0"/>
                <a:cs typeface="Arial" panose="020B0604020202020204" pitchFamily="34" charset="0"/>
              </a:defRPr>
            </a:lvl2pPr>
            <a:lvl3pPr>
              <a:defRPr sz="2000">
                <a:latin typeface="Arial" panose="020B0604020202020204" pitchFamily="34" charset="0"/>
                <a:cs typeface="Arial" panose="020B0604020202020204" pitchFamily="34" charset="0"/>
              </a:defRPr>
            </a:lvl3pPr>
            <a:lvl4pPr>
              <a:defRPr sz="1800">
                <a:latin typeface="Arial" panose="020B0604020202020204" pitchFamily="34" charset="0"/>
                <a:cs typeface="Arial" panose="020B0604020202020204" pitchFamily="34" charset="0"/>
              </a:defRPr>
            </a:lvl4pPr>
            <a:lvl5pPr>
              <a:defRPr sz="18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94630742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reserve="1">
  <p:cSld name="Title Slide">
    <p:bg>
      <p:bgRef idx="1003">
        <a:schemeClr val="bg1"/>
      </p:bgRef>
    </p:bg>
    <p:spTree>
      <p:nvGrpSpPr>
        <p:cNvPr id="1" name=""/>
        <p:cNvGrpSpPr/>
        <p:nvPr/>
      </p:nvGrpSpPr>
      <p:grpSpPr>
        <a:xfrm>
          <a:off x="0" y="0"/>
          <a:ext cx="0" cy="0"/>
          <a:chOff x="0" y="0"/>
          <a:chExt cx="0" cy="0"/>
        </a:xfrm>
      </p:grpSpPr>
      <p:sp>
        <p:nvSpPr>
          <p:cNvPr id="12" name="Rectangle 11"/>
          <p:cNvSpPr/>
          <p:nvPr/>
        </p:nvSpPr>
        <p:spPr>
          <a:xfrm>
            <a:off x="0" y="0"/>
            <a:ext cx="9144000" cy="6858000"/>
          </a:xfrm>
          <a:prstGeom prst="rect">
            <a:avLst/>
          </a:prstGeom>
          <a:solidFill>
            <a:srgbClr val="FFFFFF"/>
          </a:solidFill>
          <a:ln w="12700" cap="flat" cmpd="sng"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sp useBgFill="1">
        <p:nvSpPr>
          <p:cNvPr id="13" name="Rounded Rectangle 12"/>
          <p:cNvSpPr/>
          <p:nvPr/>
        </p:nvSpPr>
        <p:spPr>
          <a:xfrm>
            <a:off x="65313" y="69757"/>
            <a:ext cx="9013372" cy="6692201"/>
          </a:xfrm>
          <a:prstGeom prst="roundRect">
            <a:avLst>
              <a:gd name="adj" fmla="val 4929"/>
            </a:avLst>
          </a:prstGeom>
          <a:ln w="6350" cap="sq" cmpd="sng" algn="ctr">
            <a:solidFill>
              <a:schemeClr val="tx1">
                <a:alpha val="100000"/>
              </a:schemeClr>
            </a:solidFill>
            <a:prstDash val="solid"/>
          </a:ln>
          <a:effectLst/>
        </p:spPr>
        <p:style>
          <a:lnRef idx="3">
            <a:schemeClr val="lt1"/>
          </a:lnRef>
          <a:fillRef idx="1001">
            <a:schemeClr val="lt1"/>
          </a:fillRef>
          <a:effectRef idx="1">
            <a:schemeClr val="accent1"/>
          </a:effectRef>
          <a:fontRef idx="minor">
            <a:schemeClr val="lt1"/>
          </a:fontRef>
        </p:style>
        <p:txBody>
          <a:bodyPr anchor="ctr"/>
          <a:lstStyle/>
          <a:p>
            <a:pPr algn="ctr"/>
            <a:endParaRPr lang="en-US" sz="1800">
              <a:solidFill>
                <a:prstClr val="white"/>
              </a:solidFill>
            </a:endParaRPr>
          </a:p>
        </p:txBody>
      </p:sp>
      <p:sp>
        <p:nvSpPr>
          <p:cNvPr id="9" name="Subtitle 8"/>
          <p:cNvSpPr>
            <a:spLocks noGrp="1"/>
          </p:cNvSpPr>
          <p:nvPr>
            <p:ph type="subTitle" idx="1"/>
          </p:nvPr>
        </p:nvSpPr>
        <p:spPr>
          <a:xfrm>
            <a:off x="1295400" y="3200400"/>
            <a:ext cx="6400800" cy="1600200"/>
          </a:xfrm>
        </p:spPr>
        <p:txBody>
          <a:bodyPr/>
          <a:lstStyle>
            <a:lvl1pPr marL="0" indent="0" algn="ctr">
              <a:buNone/>
              <a:defRPr sz="2600">
                <a:solidFill>
                  <a:schemeClr val="tx2"/>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kumimoji="0" lang="en-US"/>
              <a:t>Click to edit Master subtitle style</a:t>
            </a:r>
          </a:p>
        </p:txBody>
      </p:sp>
      <p:sp>
        <p:nvSpPr>
          <p:cNvPr id="28" name="Date Placeholder 27"/>
          <p:cNvSpPr>
            <a:spLocks noGrp="1"/>
          </p:cNvSpPr>
          <p:nvPr>
            <p:ph type="dt" sz="half" idx="10"/>
          </p:nvPr>
        </p:nvSpPr>
        <p:spPr/>
        <p:txBody>
          <a:bodyPr/>
          <a:lstStyle/>
          <a:p>
            <a:fld id="{5DD884B5-C999-4FA3-B783-66F11C2D0579}" type="datetimeFigureOut">
              <a:rPr lang="en-US" smtClean="0">
                <a:solidFill>
                  <a:srgbClr val="696464"/>
                </a:solidFill>
              </a:rPr>
              <a:pPr/>
              <a:t>1/30/2020</a:t>
            </a:fld>
            <a:endParaRPr lang="en-US">
              <a:solidFill>
                <a:srgbClr val="696464"/>
              </a:solidFill>
            </a:endParaRPr>
          </a:p>
        </p:txBody>
      </p:sp>
      <p:sp>
        <p:nvSpPr>
          <p:cNvPr id="17" name="Footer Placeholder 16"/>
          <p:cNvSpPr>
            <a:spLocks noGrp="1"/>
          </p:cNvSpPr>
          <p:nvPr>
            <p:ph type="ftr" sz="quarter" idx="11"/>
          </p:nvPr>
        </p:nvSpPr>
        <p:spPr/>
        <p:txBody>
          <a:bodyPr/>
          <a:lstStyle/>
          <a:p>
            <a:endParaRPr lang="en-US">
              <a:solidFill>
                <a:srgbClr val="696464"/>
              </a:solidFill>
            </a:endParaRPr>
          </a:p>
        </p:txBody>
      </p:sp>
      <p:sp>
        <p:nvSpPr>
          <p:cNvPr id="29" name="Slide Number Placeholder 28"/>
          <p:cNvSpPr>
            <a:spLocks noGrp="1"/>
          </p:cNvSpPr>
          <p:nvPr>
            <p:ph type="sldNum" sz="quarter" idx="12"/>
          </p:nvPr>
        </p:nvSpPr>
        <p:spPr/>
        <p:txBody>
          <a:bodyPr lIns="0" tIns="0" rIns="0" bIns="0">
            <a:noAutofit/>
          </a:bodyPr>
          <a:lstStyle>
            <a:lvl1pPr>
              <a:defRPr sz="1400">
                <a:solidFill>
                  <a:srgbClr val="FFFFFF"/>
                </a:solidFill>
              </a:defRPr>
            </a:lvl1pPr>
          </a:lstStyle>
          <a:p>
            <a:fld id="{8AD6A1BA-F535-4998-B122-5EEC82DBA69C}" type="slidenum">
              <a:rPr lang="en-US" smtClean="0"/>
              <a:pPr/>
              <a:t>‹#›</a:t>
            </a:fld>
            <a:endParaRPr lang="en-US"/>
          </a:p>
        </p:txBody>
      </p:sp>
      <p:sp>
        <p:nvSpPr>
          <p:cNvPr id="7" name="Rectangle 6"/>
          <p:cNvSpPr/>
          <p:nvPr/>
        </p:nvSpPr>
        <p:spPr>
          <a:xfrm>
            <a:off x="62933" y="1449307"/>
            <a:ext cx="9021537" cy="1527349"/>
          </a:xfrm>
          <a:prstGeom prst="rect">
            <a:avLst/>
          </a:prstGeom>
          <a:solidFill>
            <a:schemeClr val="accent1">
              <a:alpha val="10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sz="1800">
              <a:solidFill>
                <a:prstClr val="white"/>
              </a:solidFill>
            </a:endParaRPr>
          </a:p>
        </p:txBody>
      </p:sp>
      <p:sp>
        <p:nvSpPr>
          <p:cNvPr id="10" name="Rectangle 9"/>
          <p:cNvSpPr/>
          <p:nvPr/>
        </p:nvSpPr>
        <p:spPr>
          <a:xfrm>
            <a:off x="62933" y="1396720"/>
            <a:ext cx="9021537" cy="120580"/>
          </a:xfrm>
          <a:prstGeom prst="rect">
            <a:avLst/>
          </a:prstGeom>
          <a:solidFill>
            <a:schemeClr val="accent1">
              <a:tint val="6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sz="1800">
              <a:solidFill>
                <a:prstClr val="white"/>
              </a:solidFill>
            </a:endParaRPr>
          </a:p>
        </p:txBody>
      </p:sp>
      <p:sp>
        <p:nvSpPr>
          <p:cNvPr id="11" name="Rectangle 10"/>
          <p:cNvSpPr/>
          <p:nvPr/>
        </p:nvSpPr>
        <p:spPr>
          <a:xfrm>
            <a:off x="62933" y="2976649"/>
            <a:ext cx="9021537" cy="110532"/>
          </a:xfrm>
          <a:prstGeom prst="rect">
            <a:avLst/>
          </a:prstGeom>
          <a:solidFill>
            <a:schemeClr val="accent5"/>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sz="1800">
              <a:solidFill>
                <a:prstClr val="white"/>
              </a:solidFill>
            </a:endParaRPr>
          </a:p>
        </p:txBody>
      </p:sp>
      <p:sp>
        <p:nvSpPr>
          <p:cNvPr id="8" name="Title 7"/>
          <p:cNvSpPr>
            <a:spLocks noGrp="1"/>
          </p:cNvSpPr>
          <p:nvPr>
            <p:ph type="ctrTitle"/>
          </p:nvPr>
        </p:nvSpPr>
        <p:spPr>
          <a:xfrm>
            <a:off x="457200" y="1505934"/>
            <a:ext cx="8229600" cy="1470025"/>
          </a:xfrm>
        </p:spPr>
        <p:txBody>
          <a:bodyPr anchor="ctr"/>
          <a:lstStyle>
            <a:lvl1pPr algn="ctr">
              <a:defRPr lang="en-US" dirty="0">
                <a:solidFill>
                  <a:srgbClr val="FFFFFF"/>
                </a:solidFill>
              </a:defRPr>
            </a:lvl1pPr>
          </a:lstStyle>
          <a:p>
            <a:r>
              <a:rPr kumimoji="0" lang="en-US"/>
              <a:t>Click to edit Master title style</a:t>
            </a:r>
          </a:p>
        </p:txBody>
      </p:sp>
      <p:pic>
        <p:nvPicPr>
          <p:cNvPr id="14" name="Picture 1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81770" y="5374411"/>
            <a:ext cx="1989079" cy="1152891"/>
          </a:xfrm>
          <a:prstGeom prst="rect">
            <a:avLst/>
          </a:prstGeom>
        </p:spPr>
      </p:pic>
    </p:spTree>
    <p:extLst>
      <p:ext uri="{BB962C8B-B14F-4D97-AF65-F5344CB8AC3E}">
        <p14:creationId xmlns:p14="http://schemas.microsoft.com/office/powerpoint/2010/main" val="2436035838"/>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a:t>Click to edit Master title style</a:t>
            </a:r>
          </a:p>
        </p:txBody>
      </p:sp>
      <p:sp>
        <p:nvSpPr>
          <p:cNvPr id="4" name="Date Placeholder 3"/>
          <p:cNvSpPr>
            <a:spLocks noGrp="1"/>
          </p:cNvSpPr>
          <p:nvPr>
            <p:ph type="dt" sz="half" idx="10"/>
          </p:nvPr>
        </p:nvSpPr>
        <p:spPr/>
        <p:txBody>
          <a:bodyPr/>
          <a:lstStyle/>
          <a:p>
            <a:fld id="{5DD884B5-C999-4FA3-B783-66F11C2D0579}" type="datetimeFigureOut">
              <a:rPr lang="en-US" smtClean="0">
                <a:solidFill>
                  <a:srgbClr val="696464"/>
                </a:solidFill>
              </a:rPr>
              <a:pPr/>
              <a:t>1/30/2020</a:t>
            </a:fld>
            <a:endParaRPr lang="en-US">
              <a:solidFill>
                <a:srgbClr val="696464"/>
              </a:solidFill>
            </a:endParaRPr>
          </a:p>
        </p:txBody>
      </p:sp>
      <p:sp>
        <p:nvSpPr>
          <p:cNvPr id="5" name="Footer Placeholder 4"/>
          <p:cNvSpPr>
            <a:spLocks noGrp="1"/>
          </p:cNvSpPr>
          <p:nvPr>
            <p:ph type="ftr" sz="quarter" idx="11"/>
          </p:nvPr>
        </p:nvSpPr>
        <p:spPr/>
        <p:txBody>
          <a:bodyPr/>
          <a:lstStyle/>
          <a:p>
            <a:endParaRPr lang="en-US">
              <a:solidFill>
                <a:srgbClr val="696464"/>
              </a:solidFill>
            </a:endParaRPr>
          </a:p>
        </p:txBody>
      </p:sp>
      <p:sp>
        <p:nvSpPr>
          <p:cNvPr id="6" name="Slide Number Placeholder 5"/>
          <p:cNvSpPr>
            <a:spLocks noGrp="1"/>
          </p:cNvSpPr>
          <p:nvPr>
            <p:ph type="sldNum" sz="quarter" idx="12"/>
          </p:nvPr>
        </p:nvSpPr>
        <p:spPr/>
        <p:txBody>
          <a:bodyPr/>
          <a:lstStyle/>
          <a:p>
            <a:fld id="{8AD6A1BA-F535-4998-B122-5EEC82DBA69C}" type="slidenum">
              <a:rPr lang="en-US" smtClean="0"/>
              <a:pPr/>
              <a:t>‹#›</a:t>
            </a:fld>
            <a:endParaRPr lang="en-US"/>
          </a:p>
        </p:txBody>
      </p:sp>
      <p:sp>
        <p:nvSpPr>
          <p:cNvPr id="8" name="Content Placeholder 7"/>
          <p:cNvSpPr>
            <a:spLocks noGrp="1"/>
          </p:cNvSpPr>
          <p:nvPr>
            <p:ph sz="quarter" idx="1"/>
          </p:nvPr>
        </p:nvSpPr>
        <p:spPr>
          <a:xfrm>
            <a:off x="914400" y="1447800"/>
            <a:ext cx="7772400" cy="4572000"/>
          </a:xfrm>
        </p:spPr>
        <p:txBody>
          <a:bodyPr vert="horz"/>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3" name="TextBox 2"/>
          <p:cNvSpPr txBox="1"/>
          <p:nvPr userDrawn="1"/>
        </p:nvSpPr>
        <p:spPr>
          <a:xfrm>
            <a:off x="7674015" y="567159"/>
            <a:ext cx="868102" cy="369332"/>
          </a:xfrm>
          <a:prstGeom prst="rect">
            <a:avLst/>
          </a:prstGeom>
          <a:noFill/>
        </p:spPr>
        <p:txBody>
          <a:bodyPr wrap="square" rtlCol="0">
            <a:spAutoFit/>
          </a:bodyPr>
          <a:lstStyle/>
          <a:p>
            <a:pPr algn="r"/>
            <a:fld id="{906A85FC-6EF3-452F-A15D-BAA0EE29D675}" type="slidenum">
              <a:rPr lang="en-US" sz="1800">
                <a:solidFill>
                  <a:prstClr val="black"/>
                </a:solidFill>
              </a:rPr>
              <a:pPr algn="r"/>
              <a:t>‹#›</a:t>
            </a:fld>
            <a:endParaRPr lang="en-US" sz="1800" dirty="0">
              <a:solidFill>
                <a:prstClr val="black"/>
              </a:solidFill>
            </a:endParaRP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81770" y="5374411"/>
            <a:ext cx="1989079" cy="1152891"/>
          </a:xfrm>
          <a:prstGeom prst="rect">
            <a:avLst/>
          </a:prstGeom>
        </p:spPr>
      </p:pic>
    </p:spTree>
    <p:extLst>
      <p:ext uri="{BB962C8B-B14F-4D97-AF65-F5344CB8AC3E}">
        <p14:creationId xmlns:p14="http://schemas.microsoft.com/office/powerpoint/2010/main" val="86856825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Ref idx="1003">
        <a:schemeClr val="bg1"/>
      </p:bgRef>
    </p:bg>
    <p:spTree>
      <p:nvGrpSpPr>
        <p:cNvPr id="1" name=""/>
        <p:cNvGrpSpPr/>
        <p:nvPr/>
      </p:nvGrpSpPr>
      <p:grpSpPr>
        <a:xfrm>
          <a:off x="0" y="0"/>
          <a:ext cx="0" cy="0"/>
          <a:chOff x="0" y="0"/>
          <a:chExt cx="0" cy="0"/>
        </a:xfrm>
      </p:grpSpPr>
      <p:sp>
        <p:nvSpPr>
          <p:cNvPr id="11" name="Rectangle 10"/>
          <p:cNvSpPr/>
          <p:nvPr/>
        </p:nvSpPr>
        <p:spPr>
          <a:xfrm>
            <a:off x="0" y="0"/>
            <a:ext cx="9144000" cy="6858000"/>
          </a:xfrm>
          <a:prstGeom prst="rect">
            <a:avLst/>
          </a:prstGeom>
          <a:solidFill>
            <a:srgbClr val="FFFFFF"/>
          </a:solidFill>
          <a:ln w="12700" cap="flat" cmpd="sng"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sp useBgFill="1">
        <p:nvSpPr>
          <p:cNvPr id="10" name="Rounded Rectangle 9"/>
          <p:cNvSpPr/>
          <p:nvPr/>
        </p:nvSpPr>
        <p:spPr>
          <a:xfrm>
            <a:off x="65313" y="69757"/>
            <a:ext cx="9013372" cy="6692201"/>
          </a:xfrm>
          <a:prstGeom prst="roundRect">
            <a:avLst>
              <a:gd name="adj" fmla="val 4929"/>
            </a:avLst>
          </a:prstGeom>
          <a:ln w="6350" cap="sq" cmpd="sng" algn="ctr">
            <a:solidFill>
              <a:schemeClr val="tx1">
                <a:alpha val="100000"/>
              </a:schemeClr>
            </a:solidFill>
            <a:prstDash val="solid"/>
          </a:ln>
          <a:effectLst/>
        </p:spPr>
        <p:style>
          <a:lnRef idx="3">
            <a:schemeClr val="lt1"/>
          </a:lnRef>
          <a:fillRef idx="1003">
            <a:schemeClr val="lt1"/>
          </a:fillRef>
          <a:effectRef idx="1">
            <a:schemeClr val="accent1"/>
          </a:effectRef>
          <a:fontRef idx="minor">
            <a:schemeClr val="lt1"/>
          </a:fontRef>
        </p:style>
        <p:txBody>
          <a:bodyPr anchor="ctr"/>
          <a:lstStyle/>
          <a:p>
            <a:pPr algn="ctr"/>
            <a:endParaRPr lang="en-US" sz="1800">
              <a:solidFill>
                <a:prstClr val="white"/>
              </a:solidFill>
            </a:endParaRPr>
          </a:p>
        </p:txBody>
      </p:sp>
      <p:sp>
        <p:nvSpPr>
          <p:cNvPr id="2" name="Title 1"/>
          <p:cNvSpPr>
            <a:spLocks noGrp="1"/>
          </p:cNvSpPr>
          <p:nvPr>
            <p:ph type="title"/>
          </p:nvPr>
        </p:nvSpPr>
        <p:spPr>
          <a:xfrm>
            <a:off x="722313" y="952504"/>
            <a:ext cx="7772400" cy="1362075"/>
          </a:xfrm>
        </p:spPr>
        <p:txBody>
          <a:bodyPr anchor="b" anchorCtr="0"/>
          <a:lstStyle>
            <a:lvl1pPr algn="l">
              <a:buNone/>
              <a:defRPr sz="4000" b="0" cap="none"/>
            </a:lvl1pPr>
          </a:lstStyle>
          <a:p>
            <a:r>
              <a:rPr kumimoji="0" lang="en-US"/>
              <a:t>Click to edit Master title style</a:t>
            </a:r>
          </a:p>
        </p:txBody>
      </p:sp>
      <p:sp>
        <p:nvSpPr>
          <p:cNvPr id="3" name="Text Placeholder 2"/>
          <p:cNvSpPr>
            <a:spLocks noGrp="1"/>
          </p:cNvSpPr>
          <p:nvPr>
            <p:ph type="body" idx="1"/>
          </p:nvPr>
        </p:nvSpPr>
        <p:spPr>
          <a:xfrm>
            <a:off x="722313" y="2547938"/>
            <a:ext cx="7772400" cy="1338262"/>
          </a:xfrm>
        </p:spPr>
        <p:txBody>
          <a:bodyPr anchor="t" anchorCtr="0"/>
          <a:lstStyle>
            <a:lvl1pPr marL="0" indent="0">
              <a:buNone/>
              <a:defRPr sz="2400">
                <a:solidFill>
                  <a:schemeClr val="tx1">
                    <a:tint val="75000"/>
                  </a:schemeClr>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n-US"/>
              <a:t>Click to edit Master text styles</a:t>
            </a:r>
          </a:p>
        </p:txBody>
      </p:sp>
      <p:sp>
        <p:nvSpPr>
          <p:cNvPr id="4" name="Date Placeholder 3"/>
          <p:cNvSpPr>
            <a:spLocks noGrp="1"/>
          </p:cNvSpPr>
          <p:nvPr>
            <p:ph type="dt" sz="half" idx="10"/>
          </p:nvPr>
        </p:nvSpPr>
        <p:spPr/>
        <p:txBody>
          <a:bodyPr/>
          <a:lstStyle/>
          <a:p>
            <a:fld id="{5DD884B5-C999-4FA3-B783-66F11C2D0579}" type="datetimeFigureOut">
              <a:rPr lang="en-US" smtClean="0">
                <a:solidFill>
                  <a:srgbClr val="696464"/>
                </a:solidFill>
              </a:rPr>
              <a:pPr/>
              <a:t>1/30/2020</a:t>
            </a:fld>
            <a:endParaRPr lang="en-US">
              <a:solidFill>
                <a:srgbClr val="696464"/>
              </a:solidFill>
            </a:endParaRPr>
          </a:p>
        </p:txBody>
      </p:sp>
      <p:sp>
        <p:nvSpPr>
          <p:cNvPr id="5" name="Footer Placeholder 4"/>
          <p:cNvSpPr>
            <a:spLocks noGrp="1"/>
          </p:cNvSpPr>
          <p:nvPr>
            <p:ph type="ftr" sz="quarter" idx="11"/>
          </p:nvPr>
        </p:nvSpPr>
        <p:spPr>
          <a:xfrm>
            <a:off x="800100" y="6172200"/>
            <a:ext cx="4000500" cy="457200"/>
          </a:xfrm>
        </p:spPr>
        <p:txBody>
          <a:bodyPr/>
          <a:lstStyle/>
          <a:p>
            <a:endParaRPr lang="en-US">
              <a:solidFill>
                <a:srgbClr val="696464"/>
              </a:solidFill>
            </a:endParaRPr>
          </a:p>
        </p:txBody>
      </p:sp>
      <p:sp>
        <p:nvSpPr>
          <p:cNvPr id="7" name="Rectangle 6"/>
          <p:cNvSpPr/>
          <p:nvPr/>
        </p:nvSpPr>
        <p:spPr>
          <a:xfrm flipV="1">
            <a:off x="69413" y="2376830"/>
            <a:ext cx="9013515" cy="91440"/>
          </a:xfrm>
          <a:prstGeom prst="rect">
            <a:avLst/>
          </a:prstGeom>
          <a:solidFill>
            <a:schemeClr val="accent1">
              <a:alpha val="10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sz="1800">
              <a:solidFill>
                <a:prstClr val="white"/>
              </a:solidFill>
            </a:endParaRPr>
          </a:p>
        </p:txBody>
      </p:sp>
      <p:sp>
        <p:nvSpPr>
          <p:cNvPr id="8" name="Rectangle 7"/>
          <p:cNvSpPr/>
          <p:nvPr/>
        </p:nvSpPr>
        <p:spPr>
          <a:xfrm>
            <a:off x="69148" y="2341479"/>
            <a:ext cx="9013781" cy="45719"/>
          </a:xfrm>
          <a:prstGeom prst="rect">
            <a:avLst/>
          </a:prstGeom>
          <a:solidFill>
            <a:schemeClr val="accent1">
              <a:tint val="6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sz="1800">
              <a:solidFill>
                <a:prstClr val="white"/>
              </a:solidFill>
            </a:endParaRPr>
          </a:p>
        </p:txBody>
      </p:sp>
      <p:sp>
        <p:nvSpPr>
          <p:cNvPr id="9" name="Rectangle 8"/>
          <p:cNvSpPr/>
          <p:nvPr/>
        </p:nvSpPr>
        <p:spPr>
          <a:xfrm>
            <a:off x="68308" y="2468880"/>
            <a:ext cx="9014621" cy="45720"/>
          </a:xfrm>
          <a:prstGeom prst="rect">
            <a:avLst/>
          </a:prstGeom>
          <a:solidFill>
            <a:schemeClr val="accent5"/>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sz="1800">
              <a:solidFill>
                <a:prstClr val="white"/>
              </a:solidFill>
            </a:endParaRPr>
          </a:p>
        </p:txBody>
      </p:sp>
      <p:sp>
        <p:nvSpPr>
          <p:cNvPr id="6" name="Slide Number Placeholder 5"/>
          <p:cNvSpPr>
            <a:spLocks noGrp="1"/>
          </p:cNvSpPr>
          <p:nvPr>
            <p:ph type="sldNum" sz="quarter" idx="12"/>
          </p:nvPr>
        </p:nvSpPr>
        <p:spPr>
          <a:xfrm>
            <a:off x="146304" y="6208776"/>
            <a:ext cx="457200" cy="457200"/>
          </a:xfrm>
        </p:spPr>
        <p:txBody>
          <a:bodyPr/>
          <a:lstStyle/>
          <a:p>
            <a:fld id="{8AD6A1BA-F535-4998-B122-5EEC82DBA69C}" type="slidenum">
              <a:rPr lang="en-US" smtClean="0"/>
              <a:pPr/>
              <a:t>‹#›</a:t>
            </a:fld>
            <a:endParaRPr lang="en-US"/>
          </a:p>
        </p:txBody>
      </p:sp>
      <p:pic>
        <p:nvPicPr>
          <p:cNvPr id="12" name="Pictur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949330" y="5525940"/>
            <a:ext cx="1989079" cy="1152891"/>
          </a:xfrm>
          <a:prstGeom prst="rect">
            <a:avLst/>
          </a:prstGeom>
        </p:spPr>
      </p:pic>
    </p:spTree>
    <p:extLst>
      <p:ext uri="{BB962C8B-B14F-4D97-AF65-F5344CB8AC3E}">
        <p14:creationId xmlns:p14="http://schemas.microsoft.com/office/powerpoint/2010/main" val="2556322354"/>
      </p:ext>
    </p:extLst>
  </p:cSld>
  <p:clrMapOvr>
    <a:overrideClrMapping bg1="lt1" tx1="dk1" bg2="lt2" tx2="dk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a:t>Click to edit Master title style</a:t>
            </a:r>
          </a:p>
        </p:txBody>
      </p:sp>
      <p:sp>
        <p:nvSpPr>
          <p:cNvPr id="5" name="Date Placeholder 4"/>
          <p:cNvSpPr>
            <a:spLocks noGrp="1"/>
          </p:cNvSpPr>
          <p:nvPr>
            <p:ph type="dt" sz="half" idx="10"/>
          </p:nvPr>
        </p:nvSpPr>
        <p:spPr/>
        <p:txBody>
          <a:bodyPr/>
          <a:lstStyle/>
          <a:p>
            <a:fld id="{5DD884B5-C999-4FA3-B783-66F11C2D0579}" type="datetimeFigureOut">
              <a:rPr lang="en-US" smtClean="0">
                <a:solidFill>
                  <a:srgbClr val="696464"/>
                </a:solidFill>
              </a:rPr>
              <a:pPr/>
              <a:t>1/30/2020</a:t>
            </a:fld>
            <a:endParaRPr lang="en-US">
              <a:solidFill>
                <a:srgbClr val="696464"/>
              </a:solidFill>
            </a:endParaRPr>
          </a:p>
        </p:txBody>
      </p:sp>
      <p:sp>
        <p:nvSpPr>
          <p:cNvPr id="6" name="Footer Placeholder 5"/>
          <p:cNvSpPr>
            <a:spLocks noGrp="1"/>
          </p:cNvSpPr>
          <p:nvPr>
            <p:ph type="ftr" sz="quarter" idx="11"/>
          </p:nvPr>
        </p:nvSpPr>
        <p:spPr/>
        <p:txBody>
          <a:bodyPr/>
          <a:lstStyle/>
          <a:p>
            <a:endParaRPr lang="en-US">
              <a:solidFill>
                <a:srgbClr val="696464"/>
              </a:solidFill>
            </a:endParaRPr>
          </a:p>
        </p:txBody>
      </p:sp>
      <p:sp>
        <p:nvSpPr>
          <p:cNvPr id="7" name="Slide Number Placeholder 6"/>
          <p:cNvSpPr>
            <a:spLocks noGrp="1"/>
          </p:cNvSpPr>
          <p:nvPr>
            <p:ph type="sldNum" sz="quarter" idx="12"/>
          </p:nvPr>
        </p:nvSpPr>
        <p:spPr/>
        <p:txBody>
          <a:bodyPr/>
          <a:lstStyle/>
          <a:p>
            <a:fld id="{8AD6A1BA-F535-4998-B122-5EEC82DBA69C}" type="slidenum">
              <a:rPr lang="en-US" smtClean="0"/>
              <a:pPr/>
              <a:t>‹#›</a:t>
            </a:fld>
            <a:endParaRPr lang="en-US"/>
          </a:p>
        </p:txBody>
      </p:sp>
      <p:sp>
        <p:nvSpPr>
          <p:cNvPr id="9" name="Content Placeholder 8"/>
          <p:cNvSpPr>
            <a:spLocks noGrp="1"/>
          </p:cNvSpPr>
          <p:nvPr>
            <p:ph sz="quarter" idx="1"/>
          </p:nvPr>
        </p:nvSpPr>
        <p:spPr>
          <a:xfrm>
            <a:off x="914400" y="1447800"/>
            <a:ext cx="3749040" cy="4572000"/>
          </a:xfrm>
        </p:spPr>
        <p:txBody>
          <a:bodyPr vert="horz"/>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11" name="Content Placeholder 10"/>
          <p:cNvSpPr>
            <a:spLocks noGrp="1"/>
          </p:cNvSpPr>
          <p:nvPr>
            <p:ph sz="quarter" idx="2"/>
          </p:nvPr>
        </p:nvSpPr>
        <p:spPr>
          <a:xfrm>
            <a:off x="4933950" y="1447800"/>
            <a:ext cx="3749040" cy="4572000"/>
          </a:xfrm>
        </p:spPr>
        <p:txBody>
          <a:bodyPr vert="horz"/>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Tree>
    <p:extLst>
      <p:ext uri="{BB962C8B-B14F-4D97-AF65-F5344CB8AC3E}">
        <p14:creationId xmlns:p14="http://schemas.microsoft.com/office/powerpoint/2010/main" val="83303100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914400" y="273050"/>
            <a:ext cx="7772400" cy="1143000"/>
          </a:xfrm>
        </p:spPr>
        <p:txBody>
          <a:bodyPr anchor="b" anchorCtr="0"/>
          <a:lstStyle>
            <a:lvl1pPr>
              <a:defRPr/>
            </a:lvl1pPr>
          </a:lstStyle>
          <a:p>
            <a:r>
              <a:rPr kumimoji="0" lang="en-US"/>
              <a:t>Click to edit Master title style</a:t>
            </a:r>
          </a:p>
        </p:txBody>
      </p:sp>
      <p:sp>
        <p:nvSpPr>
          <p:cNvPr id="3" name="Text Placeholder 2"/>
          <p:cNvSpPr>
            <a:spLocks noGrp="1"/>
          </p:cNvSpPr>
          <p:nvPr>
            <p:ph type="body" idx="1"/>
          </p:nvPr>
        </p:nvSpPr>
        <p:spPr>
          <a:xfrm>
            <a:off x="914400" y="1447800"/>
            <a:ext cx="3733800" cy="762000"/>
          </a:xfrm>
          <a:noFill/>
          <a:ln w="12700" cap="sq" cmpd="sng" algn="ctr">
            <a:noFill/>
            <a:prstDash val="solid"/>
          </a:ln>
        </p:spPr>
        <p:txBody>
          <a:bodyPr lIns="91440" anchor="b" anchorCtr="0">
            <a:noAutofit/>
          </a:bodyPr>
          <a:lstStyle>
            <a:lvl1pPr marL="0" indent="0">
              <a:buNone/>
              <a:defRPr sz="2400" b="1">
                <a:solidFill>
                  <a:schemeClr val="accent1"/>
                </a:solidFill>
                <a:latin typeface="+mj-lt"/>
                <a:ea typeface="+mj-ea"/>
                <a:cs typeface="+mj-cs"/>
              </a:defRPr>
            </a:lvl1pPr>
            <a:lvl2pPr>
              <a:buNone/>
              <a:defRPr sz="2000" b="1"/>
            </a:lvl2pPr>
            <a:lvl3pPr>
              <a:buNone/>
              <a:defRPr sz="1800" b="1"/>
            </a:lvl3pPr>
            <a:lvl4pPr>
              <a:buNone/>
              <a:defRPr sz="1600" b="1"/>
            </a:lvl4pPr>
            <a:lvl5pPr>
              <a:buNone/>
              <a:defRPr sz="1600" b="1"/>
            </a:lvl5pPr>
          </a:lstStyle>
          <a:p>
            <a:pPr lvl="0" eaLnBrk="1" latinLnBrk="0" hangingPunct="1"/>
            <a:r>
              <a:rPr kumimoji="0" lang="en-US"/>
              <a:t>Click to edit Master text styles</a:t>
            </a:r>
          </a:p>
        </p:txBody>
      </p:sp>
      <p:sp>
        <p:nvSpPr>
          <p:cNvPr id="4" name="Text Placeholder 3"/>
          <p:cNvSpPr>
            <a:spLocks noGrp="1"/>
          </p:cNvSpPr>
          <p:nvPr>
            <p:ph type="body" sz="half" idx="3"/>
          </p:nvPr>
        </p:nvSpPr>
        <p:spPr>
          <a:xfrm>
            <a:off x="4953000" y="1447800"/>
            <a:ext cx="3733800" cy="762000"/>
          </a:xfrm>
          <a:noFill/>
          <a:ln w="12700" cap="sq" cmpd="sng" algn="ctr">
            <a:noFill/>
            <a:prstDash val="solid"/>
          </a:ln>
        </p:spPr>
        <p:txBody>
          <a:bodyPr lIns="91440" anchor="b" anchorCtr="0">
            <a:noAutofit/>
          </a:bodyPr>
          <a:lstStyle>
            <a:lvl1pPr marL="0" indent="0">
              <a:buNone/>
              <a:defRPr sz="2400" b="1">
                <a:solidFill>
                  <a:schemeClr val="accent1"/>
                </a:solidFill>
                <a:latin typeface="+mj-lt"/>
                <a:ea typeface="+mj-ea"/>
                <a:cs typeface="+mj-cs"/>
              </a:defRPr>
            </a:lvl1pPr>
            <a:lvl2pPr>
              <a:buNone/>
              <a:defRPr sz="2000" b="1"/>
            </a:lvl2pPr>
            <a:lvl3pPr>
              <a:buNone/>
              <a:defRPr sz="1800" b="1"/>
            </a:lvl3pPr>
            <a:lvl4pPr>
              <a:buNone/>
              <a:defRPr sz="1600" b="1"/>
            </a:lvl4pPr>
            <a:lvl5pPr>
              <a:buNone/>
              <a:defRPr sz="1600" b="1"/>
            </a:lvl5pPr>
          </a:lstStyle>
          <a:p>
            <a:pPr lvl="0" eaLnBrk="1" latinLnBrk="0" hangingPunct="1"/>
            <a:r>
              <a:rPr kumimoji="0" lang="en-US"/>
              <a:t>Click to edit Master text styles</a:t>
            </a:r>
          </a:p>
        </p:txBody>
      </p:sp>
      <p:sp>
        <p:nvSpPr>
          <p:cNvPr id="7" name="Date Placeholder 6"/>
          <p:cNvSpPr>
            <a:spLocks noGrp="1"/>
          </p:cNvSpPr>
          <p:nvPr>
            <p:ph type="dt" sz="half" idx="10"/>
          </p:nvPr>
        </p:nvSpPr>
        <p:spPr/>
        <p:txBody>
          <a:bodyPr/>
          <a:lstStyle/>
          <a:p>
            <a:fld id="{5DD884B5-C999-4FA3-B783-66F11C2D0579}" type="datetimeFigureOut">
              <a:rPr lang="en-US" smtClean="0">
                <a:solidFill>
                  <a:srgbClr val="696464"/>
                </a:solidFill>
              </a:rPr>
              <a:pPr/>
              <a:t>1/30/2020</a:t>
            </a:fld>
            <a:endParaRPr lang="en-US">
              <a:solidFill>
                <a:srgbClr val="696464"/>
              </a:solidFill>
            </a:endParaRPr>
          </a:p>
        </p:txBody>
      </p:sp>
      <p:sp>
        <p:nvSpPr>
          <p:cNvPr id="8" name="Footer Placeholder 7"/>
          <p:cNvSpPr>
            <a:spLocks noGrp="1"/>
          </p:cNvSpPr>
          <p:nvPr>
            <p:ph type="ftr" sz="quarter" idx="11"/>
          </p:nvPr>
        </p:nvSpPr>
        <p:spPr/>
        <p:txBody>
          <a:bodyPr/>
          <a:lstStyle/>
          <a:p>
            <a:endParaRPr lang="en-US">
              <a:solidFill>
                <a:srgbClr val="696464"/>
              </a:solidFill>
            </a:endParaRPr>
          </a:p>
        </p:txBody>
      </p:sp>
      <p:sp>
        <p:nvSpPr>
          <p:cNvPr id="9" name="Slide Number Placeholder 8"/>
          <p:cNvSpPr>
            <a:spLocks noGrp="1"/>
          </p:cNvSpPr>
          <p:nvPr>
            <p:ph type="sldNum" sz="quarter" idx="12"/>
          </p:nvPr>
        </p:nvSpPr>
        <p:spPr/>
        <p:txBody>
          <a:bodyPr/>
          <a:lstStyle/>
          <a:p>
            <a:fld id="{8AD6A1BA-F535-4998-B122-5EEC82DBA69C}" type="slidenum">
              <a:rPr lang="en-US" smtClean="0"/>
              <a:pPr/>
              <a:t>‹#›</a:t>
            </a:fld>
            <a:endParaRPr lang="en-US"/>
          </a:p>
        </p:txBody>
      </p:sp>
      <p:sp>
        <p:nvSpPr>
          <p:cNvPr id="11" name="Content Placeholder 10"/>
          <p:cNvSpPr>
            <a:spLocks noGrp="1"/>
          </p:cNvSpPr>
          <p:nvPr>
            <p:ph sz="half" idx="2"/>
          </p:nvPr>
        </p:nvSpPr>
        <p:spPr>
          <a:xfrm>
            <a:off x="914400" y="2247900"/>
            <a:ext cx="3733800" cy="3886200"/>
          </a:xfrm>
        </p:spPr>
        <p:txBody>
          <a:bodyPr vert="horz"/>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13" name="Content Placeholder 12"/>
          <p:cNvSpPr>
            <a:spLocks noGrp="1"/>
          </p:cNvSpPr>
          <p:nvPr>
            <p:ph sz="half" idx="4"/>
          </p:nvPr>
        </p:nvSpPr>
        <p:spPr>
          <a:xfrm>
            <a:off x="4953000" y="2247900"/>
            <a:ext cx="3733800" cy="3886200"/>
          </a:xfrm>
        </p:spPr>
        <p:txBody>
          <a:bodyPr vert="horz"/>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Tree>
    <p:extLst>
      <p:ext uri="{BB962C8B-B14F-4D97-AF65-F5344CB8AC3E}">
        <p14:creationId xmlns:p14="http://schemas.microsoft.com/office/powerpoint/2010/main" val="19134348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TextBox 9">
            <a:extLst>
              <a:ext uri="{FF2B5EF4-FFF2-40B4-BE49-F238E27FC236}">
                <a16:creationId xmlns:a16="http://schemas.microsoft.com/office/drawing/2014/main" id="{A1ABA024-E5CA-4512-93BD-533E6C586DEF}"/>
              </a:ext>
            </a:extLst>
          </p:cNvPr>
          <p:cNvSpPr txBox="1">
            <a:spLocks noChangeArrowheads="1"/>
          </p:cNvSpPr>
          <p:nvPr userDrawn="1"/>
        </p:nvSpPr>
        <p:spPr bwMode="auto">
          <a:xfrm>
            <a:off x="7673976" y="566740"/>
            <a:ext cx="868363"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algn="r"/>
            <a:fld id="{344E5861-17CC-4ED4-B791-882326A42F42}" type="slidenum">
              <a:rPr lang="en-US" altLang="en-US" sz="1800">
                <a:solidFill>
                  <a:srgbClr val="000000"/>
                </a:solidFill>
              </a:rPr>
              <a:pPr algn="r"/>
              <a:t>‹#›</a:t>
            </a:fld>
            <a:endParaRPr lang="en-US" altLang="en-US" sz="1800">
              <a:solidFill>
                <a:srgbClr val="000000"/>
              </a:solidFill>
            </a:endParaRPr>
          </a:p>
        </p:txBody>
      </p:sp>
      <p:pic>
        <p:nvPicPr>
          <p:cNvPr id="5" name="Picture 10">
            <a:extLst>
              <a:ext uri="{FF2B5EF4-FFF2-40B4-BE49-F238E27FC236}">
                <a16:creationId xmlns:a16="http://schemas.microsoft.com/office/drawing/2014/main" id="{3E0BC49A-06A4-4CFB-AFC3-5A0851DA069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881814" y="5373688"/>
            <a:ext cx="1989137" cy="1154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a:t>Click to edit Master title style</a:t>
            </a:r>
          </a:p>
        </p:txBody>
      </p:sp>
      <p:sp>
        <p:nvSpPr>
          <p:cNvPr id="8" name="Content Placeholder 7"/>
          <p:cNvSpPr>
            <a:spLocks noGrp="1"/>
          </p:cNvSpPr>
          <p:nvPr>
            <p:ph sz="quarter" idx="1"/>
          </p:nvPr>
        </p:nvSpPr>
        <p:spPr>
          <a:xfrm>
            <a:off x="914400" y="1447800"/>
            <a:ext cx="7772400"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Date Placeholder 3">
            <a:extLst>
              <a:ext uri="{FF2B5EF4-FFF2-40B4-BE49-F238E27FC236}">
                <a16:creationId xmlns:a16="http://schemas.microsoft.com/office/drawing/2014/main" id="{49F65757-EF79-4490-9F74-58FEE4A8C0AB}"/>
              </a:ext>
            </a:extLst>
          </p:cNvPr>
          <p:cNvSpPr>
            <a:spLocks noGrp="1"/>
          </p:cNvSpPr>
          <p:nvPr>
            <p:ph type="dt" sz="half" idx="10"/>
          </p:nvPr>
        </p:nvSpPr>
        <p:spPr/>
        <p:txBody>
          <a:bodyPr/>
          <a:lstStyle>
            <a:lvl1pPr>
              <a:defRPr/>
            </a:lvl1pPr>
          </a:lstStyle>
          <a:p>
            <a:pPr>
              <a:defRPr/>
            </a:pPr>
            <a:fld id="{4704CECA-EA3E-41F8-8AA7-7FA36044E46A}" type="datetimeFigureOut">
              <a:rPr lang="en-US"/>
              <a:pPr>
                <a:defRPr/>
              </a:pPr>
              <a:t>1/30/2020</a:t>
            </a:fld>
            <a:endParaRPr lang="en-US"/>
          </a:p>
        </p:txBody>
      </p:sp>
      <p:sp>
        <p:nvSpPr>
          <p:cNvPr id="7" name="Footer Placeholder 4">
            <a:extLst>
              <a:ext uri="{FF2B5EF4-FFF2-40B4-BE49-F238E27FC236}">
                <a16:creationId xmlns:a16="http://schemas.microsoft.com/office/drawing/2014/main" id="{C9CDDE5C-078F-45BD-92CC-061AA652A0CB}"/>
              </a:ext>
            </a:extLst>
          </p:cNvPr>
          <p:cNvSpPr>
            <a:spLocks noGrp="1"/>
          </p:cNvSpPr>
          <p:nvPr>
            <p:ph type="ftr" sz="quarter" idx="11"/>
          </p:nvPr>
        </p:nvSpPr>
        <p:spPr/>
        <p:txBody>
          <a:bodyPr/>
          <a:lstStyle>
            <a:lvl1pPr>
              <a:defRPr/>
            </a:lvl1pPr>
          </a:lstStyle>
          <a:p>
            <a:pPr>
              <a:defRPr/>
            </a:pPr>
            <a:endParaRPr lang="en-US"/>
          </a:p>
        </p:txBody>
      </p:sp>
    </p:spTree>
    <p:extLst>
      <p:ext uri="{BB962C8B-B14F-4D97-AF65-F5344CB8AC3E}">
        <p14:creationId xmlns:p14="http://schemas.microsoft.com/office/powerpoint/2010/main" val="30362627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a:t>Click to edit Master title style</a:t>
            </a:r>
          </a:p>
        </p:txBody>
      </p:sp>
      <p:sp>
        <p:nvSpPr>
          <p:cNvPr id="3" name="Date Placeholder 2"/>
          <p:cNvSpPr>
            <a:spLocks noGrp="1"/>
          </p:cNvSpPr>
          <p:nvPr>
            <p:ph type="dt" sz="half" idx="10"/>
          </p:nvPr>
        </p:nvSpPr>
        <p:spPr/>
        <p:txBody>
          <a:bodyPr/>
          <a:lstStyle/>
          <a:p>
            <a:fld id="{5DD884B5-C999-4FA3-B783-66F11C2D0579}" type="datetimeFigureOut">
              <a:rPr lang="en-US" smtClean="0">
                <a:solidFill>
                  <a:srgbClr val="696464"/>
                </a:solidFill>
              </a:rPr>
              <a:pPr/>
              <a:t>1/30/2020</a:t>
            </a:fld>
            <a:endParaRPr lang="en-US">
              <a:solidFill>
                <a:srgbClr val="696464"/>
              </a:solidFill>
            </a:endParaRPr>
          </a:p>
        </p:txBody>
      </p:sp>
      <p:sp>
        <p:nvSpPr>
          <p:cNvPr id="4" name="Footer Placeholder 3"/>
          <p:cNvSpPr>
            <a:spLocks noGrp="1"/>
          </p:cNvSpPr>
          <p:nvPr>
            <p:ph type="ftr" sz="quarter" idx="11"/>
          </p:nvPr>
        </p:nvSpPr>
        <p:spPr/>
        <p:txBody>
          <a:bodyPr/>
          <a:lstStyle/>
          <a:p>
            <a:endParaRPr lang="en-US">
              <a:solidFill>
                <a:srgbClr val="696464"/>
              </a:solidFill>
            </a:endParaRPr>
          </a:p>
        </p:txBody>
      </p:sp>
      <p:sp>
        <p:nvSpPr>
          <p:cNvPr id="5" name="Slide Number Placeholder 4"/>
          <p:cNvSpPr>
            <a:spLocks noGrp="1"/>
          </p:cNvSpPr>
          <p:nvPr>
            <p:ph type="sldNum" sz="quarter" idx="12"/>
          </p:nvPr>
        </p:nvSpPr>
        <p:spPr/>
        <p:txBody>
          <a:bodyPr/>
          <a:lstStyle/>
          <a:p>
            <a:fld id="{8AD6A1BA-F535-4998-B122-5EEC82DBA69C}" type="slidenum">
              <a:rPr lang="en-US" smtClean="0"/>
              <a:pPr/>
              <a:t>‹#›</a:t>
            </a:fld>
            <a:endParaRPr lang="en-US"/>
          </a:p>
        </p:txBody>
      </p:sp>
      <p:pic>
        <p:nvPicPr>
          <p:cNvPr id="1026"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925326" y="5538358"/>
            <a:ext cx="1993106" cy="1152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9909667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DD884B5-C999-4FA3-B783-66F11C2D0579}" type="datetimeFigureOut">
              <a:rPr lang="en-US" smtClean="0">
                <a:solidFill>
                  <a:srgbClr val="696464"/>
                </a:solidFill>
              </a:rPr>
              <a:pPr/>
              <a:t>1/30/2020</a:t>
            </a:fld>
            <a:endParaRPr lang="en-US">
              <a:solidFill>
                <a:srgbClr val="696464"/>
              </a:solidFill>
            </a:endParaRPr>
          </a:p>
        </p:txBody>
      </p:sp>
      <p:sp>
        <p:nvSpPr>
          <p:cNvPr id="3" name="Footer Placeholder 2"/>
          <p:cNvSpPr>
            <a:spLocks noGrp="1"/>
          </p:cNvSpPr>
          <p:nvPr>
            <p:ph type="ftr" sz="quarter" idx="11"/>
          </p:nvPr>
        </p:nvSpPr>
        <p:spPr/>
        <p:txBody>
          <a:bodyPr/>
          <a:lstStyle/>
          <a:p>
            <a:endParaRPr lang="en-US">
              <a:solidFill>
                <a:srgbClr val="696464"/>
              </a:solidFill>
            </a:endParaRPr>
          </a:p>
        </p:txBody>
      </p:sp>
      <p:sp>
        <p:nvSpPr>
          <p:cNvPr id="4" name="Slide Number Placeholder 3"/>
          <p:cNvSpPr>
            <a:spLocks noGrp="1"/>
          </p:cNvSpPr>
          <p:nvPr>
            <p:ph type="sldNum" sz="quarter" idx="12"/>
          </p:nvPr>
        </p:nvSpPr>
        <p:spPr/>
        <p:txBody>
          <a:bodyPr/>
          <a:lstStyle/>
          <a:p>
            <a:fld id="{8AD6A1BA-F535-4998-B122-5EEC82DBA69C}" type="slidenum">
              <a:rPr lang="en-US" smtClean="0"/>
              <a:pPr/>
              <a:t>‹#›</a:t>
            </a:fld>
            <a:endParaRPr lang="en-US"/>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89564" y="5519884"/>
            <a:ext cx="1989079" cy="1152891"/>
          </a:xfrm>
          <a:prstGeom prst="rect">
            <a:avLst/>
          </a:prstGeom>
        </p:spPr>
      </p:pic>
    </p:spTree>
    <p:extLst>
      <p:ext uri="{BB962C8B-B14F-4D97-AF65-F5344CB8AC3E}">
        <p14:creationId xmlns:p14="http://schemas.microsoft.com/office/powerpoint/2010/main" val="3299573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8" name="Rectangle 7"/>
          <p:cNvSpPr/>
          <p:nvPr/>
        </p:nvSpPr>
        <p:spPr>
          <a:xfrm>
            <a:off x="0" y="0"/>
            <a:ext cx="9144000" cy="6858000"/>
          </a:xfrm>
          <a:prstGeom prst="rect">
            <a:avLst/>
          </a:prstGeom>
          <a:solidFill>
            <a:srgbClr val="FFFFFF"/>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sz="1800">
              <a:solidFill>
                <a:prstClr val="white"/>
              </a:solidFill>
            </a:endParaRPr>
          </a:p>
        </p:txBody>
      </p:sp>
      <p:sp useBgFill="1">
        <p:nvSpPr>
          <p:cNvPr id="9" name="Rounded Rectangle 8"/>
          <p:cNvSpPr/>
          <p:nvPr/>
        </p:nvSpPr>
        <p:spPr>
          <a:xfrm>
            <a:off x="64008" y="69755"/>
            <a:ext cx="9013372" cy="6693408"/>
          </a:xfrm>
          <a:prstGeom prst="roundRect">
            <a:avLst>
              <a:gd name="adj" fmla="val 4929"/>
            </a:avLst>
          </a:prstGeom>
          <a:ln w="6350" cap="sq" cmpd="sng" algn="ctr">
            <a:solidFill>
              <a:schemeClr val="tx1">
                <a:alpha val="100000"/>
              </a:schemeClr>
            </a:solidFill>
            <a:prstDash val="solid"/>
          </a:ln>
          <a:effectLst/>
        </p:spPr>
        <p:style>
          <a:lnRef idx="3">
            <a:schemeClr val="lt1"/>
          </a:lnRef>
          <a:fillRef idx="1001">
            <a:schemeClr val="lt1"/>
          </a:fillRef>
          <a:effectRef idx="1">
            <a:schemeClr val="accent1"/>
          </a:effectRef>
          <a:fontRef idx="minor">
            <a:schemeClr val="lt1"/>
          </a:fontRef>
        </p:style>
        <p:txBody>
          <a:bodyPr anchor="ctr"/>
          <a:lstStyle/>
          <a:p>
            <a:pPr algn="ctr"/>
            <a:endParaRPr lang="en-US" sz="1800">
              <a:solidFill>
                <a:prstClr val="white"/>
              </a:solidFill>
            </a:endParaRPr>
          </a:p>
        </p:txBody>
      </p:sp>
      <p:sp>
        <p:nvSpPr>
          <p:cNvPr id="2" name="Title 1"/>
          <p:cNvSpPr>
            <a:spLocks noGrp="1"/>
          </p:cNvSpPr>
          <p:nvPr>
            <p:ph type="title"/>
          </p:nvPr>
        </p:nvSpPr>
        <p:spPr>
          <a:xfrm>
            <a:off x="914400" y="273050"/>
            <a:ext cx="7772400" cy="1143000"/>
          </a:xfrm>
        </p:spPr>
        <p:txBody>
          <a:bodyPr anchor="b" anchorCtr="0"/>
          <a:lstStyle>
            <a:lvl1pPr algn="l">
              <a:buNone/>
              <a:defRPr sz="4000" b="0"/>
            </a:lvl1pPr>
          </a:lstStyle>
          <a:p>
            <a:r>
              <a:rPr kumimoji="0" lang="en-US"/>
              <a:t>Click to edit Master title style</a:t>
            </a:r>
          </a:p>
        </p:txBody>
      </p:sp>
      <p:sp>
        <p:nvSpPr>
          <p:cNvPr id="3" name="Text Placeholder 2"/>
          <p:cNvSpPr>
            <a:spLocks noGrp="1"/>
          </p:cNvSpPr>
          <p:nvPr>
            <p:ph type="body" idx="2"/>
          </p:nvPr>
        </p:nvSpPr>
        <p:spPr>
          <a:xfrm>
            <a:off x="914400" y="1600200"/>
            <a:ext cx="1905000" cy="4495800"/>
          </a:xfrm>
        </p:spPr>
        <p:txBody>
          <a:bodyPr/>
          <a:lstStyle>
            <a:lvl1pPr marL="0" indent="0">
              <a:buNone/>
              <a:defRPr sz="1800"/>
            </a:lvl1pPr>
            <a:lvl2pPr>
              <a:buNone/>
              <a:defRPr sz="1200"/>
            </a:lvl2pPr>
            <a:lvl3pPr>
              <a:buNone/>
              <a:defRPr sz="1000"/>
            </a:lvl3pPr>
            <a:lvl4pPr>
              <a:buNone/>
              <a:defRPr sz="900"/>
            </a:lvl4pPr>
            <a:lvl5pPr>
              <a:buNone/>
              <a:defRPr sz="900"/>
            </a:lvl5pPr>
          </a:lstStyle>
          <a:p>
            <a:pPr lvl="0" eaLnBrk="1" latinLnBrk="0" hangingPunct="1"/>
            <a:r>
              <a:rPr kumimoji="0" lang="en-US"/>
              <a:t>Click to edit Master text styles</a:t>
            </a:r>
          </a:p>
        </p:txBody>
      </p:sp>
      <p:sp>
        <p:nvSpPr>
          <p:cNvPr id="5" name="Date Placeholder 4"/>
          <p:cNvSpPr>
            <a:spLocks noGrp="1"/>
          </p:cNvSpPr>
          <p:nvPr>
            <p:ph type="dt" sz="half" idx="10"/>
          </p:nvPr>
        </p:nvSpPr>
        <p:spPr/>
        <p:txBody>
          <a:bodyPr/>
          <a:lstStyle/>
          <a:p>
            <a:fld id="{5DD884B5-C999-4FA3-B783-66F11C2D0579}" type="datetimeFigureOut">
              <a:rPr lang="en-US" smtClean="0">
                <a:solidFill>
                  <a:srgbClr val="696464"/>
                </a:solidFill>
              </a:rPr>
              <a:pPr/>
              <a:t>1/30/2020</a:t>
            </a:fld>
            <a:endParaRPr lang="en-US">
              <a:solidFill>
                <a:srgbClr val="696464"/>
              </a:solidFill>
            </a:endParaRPr>
          </a:p>
        </p:txBody>
      </p:sp>
      <p:sp>
        <p:nvSpPr>
          <p:cNvPr id="6" name="Footer Placeholder 5"/>
          <p:cNvSpPr>
            <a:spLocks noGrp="1"/>
          </p:cNvSpPr>
          <p:nvPr>
            <p:ph type="ftr" sz="quarter" idx="11"/>
          </p:nvPr>
        </p:nvSpPr>
        <p:spPr/>
        <p:txBody>
          <a:bodyPr/>
          <a:lstStyle/>
          <a:p>
            <a:endParaRPr lang="en-US">
              <a:solidFill>
                <a:srgbClr val="696464"/>
              </a:solidFill>
            </a:endParaRPr>
          </a:p>
        </p:txBody>
      </p:sp>
      <p:sp>
        <p:nvSpPr>
          <p:cNvPr id="7" name="Slide Number Placeholder 6"/>
          <p:cNvSpPr>
            <a:spLocks noGrp="1"/>
          </p:cNvSpPr>
          <p:nvPr>
            <p:ph type="sldNum" sz="quarter" idx="12"/>
          </p:nvPr>
        </p:nvSpPr>
        <p:spPr/>
        <p:txBody>
          <a:bodyPr/>
          <a:lstStyle/>
          <a:p>
            <a:fld id="{8AD6A1BA-F535-4998-B122-5EEC82DBA69C}" type="slidenum">
              <a:rPr lang="en-US" smtClean="0"/>
              <a:pPr/>
              <a:t>‹#›</a:t>
            </a:fld>
            <a:endParaRPr lang="en-US"/>
          </a:p>
        </p:txBody>
      </p:sp>
      <p:sp>
        <p:nvSpPr>
          <p:cNvPr id="11" name="Content Placeholder 10"/>
          <p:cNvSpPr>
            <a:spLocks noGrp="1"/>
          </p:cNvSpPr>
          <p:nvPr>
            <p:ph sz="quarter" idx="1"/>
          </p:nvPr>
        </p:nvSpPr>
        <p:spPr>
          <a:xfrm>
            <a:off x="2971800" y="1600200"/>
            <a:ext cx="5715000" cy="4495800"/>
          </a:xfrm>
        </p:spPr>
        <p:txBody>
          <a:bodyPr vert="horz"/>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936323" y="5519884"/>
            <a:ext cx="1989079" cy="1152891"/>
          </a:xfrm>
          <a:prstGeom prst="rect">
            <a:avLst/>
          </a:prstGeom>
        </p:spPr>
      </p:pic>
    </p:spTree>
    <p:extLst>
      <p:ext uri="{BB962C8B-B14F-4D97-AF65-F5344CB8AC3E}">
        <p14:creationId xmlns:p14="http://schemas.microsoft.com/office/powerpoint/2010/main" val="421010230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14400" y="4900550"/>
            <a:ext cx="7315200" cy="522288"/>
          </a:xfrm>
        </p:spPr>
        <p:txBody>
          <a:bodyPr anchor="ctr">
            <a:noAutofit/>
          </a:bodyPr>
          <a:lstStyle>
            <a:lvl1pPr algn="l">
              <a:buNone/>
              <a:defRPr sz="2800" b="0"/>
            </a:lvl1pPr>
          </a:lstStyle>
          <a:p>
            <a:r>
              <a:rPr kumimoji="0" lang="en-US"/>
              <a:t>Click to edit Master title style</a:t>
            </a:r>
          </a:p>
        </p:txBody>
      </p:sp>
      <p:sp>
        <p:nvSpPr>
          <p:cNvPr id="4" name="Text Placeholder 3"/>
          <p:cNvSpPr>
            <a:spLocks noGrp="1"/>
          </p:cNvSpPr>
          <p:nvPr>
            <p:ph type="body" sz="half" idx="2"/>
          </p:nvPr>
        </p:nvSpPr>
        <p:spPr>
          <a:xfrm>
            <a:off x="914400" y="5445825"/>
            <a:ext cx="7315200" cy="685800"/>
          </a:xfrm>
        </p:spPr>
        <p:txBody>
          <a:bodyPr/>
          <a:lstStyle>
            <a:lvl1pPr marL="0" indent="0">
              <a:buFontTx/>
              <a:buNone/>
              <a:defRPr sz="1600"/>
            </a:lvl1pPr>
            <a:lvl2pPr>
              <a:defRPr sz="1200"/>
            </a:lvl2pPr>
            <a:lvl3pPr>
              <a:defRPr sz="1000"/>
            </a:lvl3pPr>
            <a:lvl4pPr>
              <a:defRPr sz="900"/>
            </a:lvl4pPr>
            <a:lvl5pPr>
              <a:defRPr sz="900"/>
            </a:lvl5pPr>
          </a:lstStyle>
          <a:p>
            <a:pPr lvl="0" eaLnBrk="1" latinLnBrk="0" hangingPunct="1"/>
            <a:r>
              <a:rPr kumimoji="0" lang="en-US"/>
              <a:t>Click to edit Master text styles</a:t>
            </a:r>
          </a:p>
        </p:txBody>
      </p:sp>
      <p:sp>
        <p:nvSpPr>
          <p:cNvPr id="5" name="Date Placeholder 4"/>
          <p:cNvSpPr>
            <a:spLocks noGrp="1"/>
          </p:cNvSpPr>
          <p:nvPr>
            <p:ph type="dt" sz="half" idx="10"/>
          </p:nvPr>
        </p:nvSpPr>
        <p:spPr/>
        <p:txBody>
          <a:bodyPr/>
          <a:lstStyle/>
          <a:p>
            <a:fld id="{5DD884B5-C999-4FA3-B783-66F11C2D0579}" type="datetimeFigureOut">
              <a:rPr lang="en-US" smtClean="0">
                <a:solidFill>
                  <a:srgbClr val="696464"/>
                </a:solidFill>
              </a:rPr>
              <a:pPr/>
              <a:t>1/30/2020</a:t>
            </a:fld>
            <a:endParaRPr lang="en-US">
              <a:solidFill>
                <a:srgbClr val="696464"/>
              </a:solidFill>
            </a:endParaRPr>
          </a:p>
        </p:txBody>
      </p:sp>
      <p:sp>
        <p:nvSpPr>
          <p:cNvPr id="6" name="Footer Placeholder 5"/>
          <p:cNvSpPr>
            <a:spLocks noGrp="1"/>
          </p:cNvSpPr>
          <p:nvPr>
            <p:ph type="ftr" sz="quarter" idx="11"/>
          </p:nvPr>
        </p:nvSpPr>
        <p:spPr>
          <a:xfrm>
            <a:off x="914400" y="6172200"/>
            <a:ext cx="3886200" cy="457200"/>
          </a:xfrm>
        </p:spPr>
        <p:txBody>
          <a:bodyPr/>
          <a:lstStyle/>
          <a:p>
            <a:endParaRPr lang="en-US">
              <a:solidFill>
                <a:srgbClr val="696464"/>
              </a:solidFill>
            </a:endParaRPr>
          </a:p>
        </p:txBody>
      </p:sp>
      <p:sp>
        <p:nvSpPr>
          <p:cNvPr id="7" name="Slide Number Placeholder 6"/>
          <p:cNvSpPr>
            <a:spLocks noGrp="1"/>
          </p:cNvSpPr>
          <p:nvPr>
            <p:ph type="sldNum" sz="quarter" idx="12"/>
          </p:nvPr>
        </p:nvSpPr>
        <p:spPr>
          <a:xfrm>
            <a:off x="146304" y="6208776"/>
            <a:ext cx="457200" cy="457200"/>
          </a:xfrm>
        </p:spPr>
        <p:txBody>
          <a:bodyPr/>
          <a:lstStyle/>
          <a:p>
            <a:fld id="{8AD6A1BA-F535-4998-B122-5EEC82DBA69C}" type="slidenum">
              <a:rPr lang="en-US" smtClean="0"/>
              <a:pPr/>
              <a:t>‹#›</a:t>
            </a:fld>
            <a:endParaRPr lang="en-US"/>
          </a:p>
        </p:txBody>
      </p:sp>
      <p:sp>
        <p:nvSpPr>
          <p:cNvPr id="11" name="Rectangle 10"/>
          <p:cNvSpPr/>
          <p:nvPr/>
        </p:nvSpPr>
        <p:spPr>
          <a:xfrm flipV="1">
            <a:off x="68307" y="4683555"/>
            <a:ext cx="9006840" cy="91440"/>
          </a:xfrm>
          <a:prstGeom prst="rect">
            <a:avLst/>
          </a:prstGeom>
          <a:solidFill>
            <a:schemeClr val="accent1">
              <a:alpha val="10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sz="1800">
              <a:solidFill>
                <a:prstClr val="white"/>
              </a:solidFill>
            </a:endParaRPr>
          </a:p>
        </p:txBody>
      </p:sp>
      <p:sp>
        <p:nvSpPr>
          <p:cNvPr id="12" name="Rectangle 11"/>
          <p:cNvSpPr/>
          <p:nvPr/>
        </p:nvSpPr>
        <p:spPr>
          <a:xfrm>
            <a:off x="68510" y="4650478"/>
            <a:ext cx="9006639" cy="45719"/>
          </a:xfrm>
          <a:prstGeom prst="rect">
            <a:avLst/>
          </a:prstGeom>
          <a:solidFill>
            <a:schemeClr val="accent1">
              <a:tint val="6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sz="1800">
              <a:solidFill>
                <a:prstClr val="white"/>
              </a:solidFill>
            </a:endParaRPr>
          </a:p>
        </p:txBody>
      </p:sp>
      <p:sp>
        <p:nvSpPr>
          <p:cNvPr id="13" name="Rectangle 12"/>
          <p:cNvSpPr/>
          <p:nvPr/>
        </p:nvSpPr>
        <p:spPr>
          <a:xfrm>
            <a:off x="68512" y="4773228"/>
            <a:ext cx="9006637" cy="48807"/>
          </a:xfrm>
          <a:prstGeom prst="rect">
            <a:avLst/>
          </a:prstGeom>
          <a:solidFill>
            <a:schemeClr val="accent5"/>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sz="1800">
              <a:solidFill>
                <a:prstClr val="white"/>
              </a:solidFill>
            </a:endParaRPr>
          </a:p>
        </p:txBody>
      </p:sp>
      <p:sp>
        <p:nvSpPr>
          <p:cNvPr id="3" name="Picture Placeholder 2"/>
          <p:cNvSpPr>
            <a:spLocks noGrp="1"/>
          </p:cNvSpPr>
          <p:nvPr>
            <p:ph type="pic" idx="1"/>
          </p:nvPr>
        </p:nvSpPr>
        <p:spPr>
          <a:xfrm>
            <a:off x="68310" y="66677"/>
            <a:ext cx="9001873" cy="4581525"/>
          </a:xfrm>
          <a:prstGeom prst="round2SameRect">
            <a:avLst>
              <a:gd name="adj1" fmla="val 7101"/>
              <a:gd name="adj2" fmla="val 0"/>
            </a:avLst>
          </a:prstGeom>
          <a:solidFill>
            <a:schemeClr val="bg2"/>
          </a:solidFill>
          <a:ln w="6350">
            <a:solidFill>
              <a:schemeClr val="tx1"/>
            </a:solidFill>
          </a:ln>
        </p:spPr>
        <p:txBody>
          <a:bodyPr/>
          <a:lstStyle>
            <a:lvl1pPr marL="0" indent="0">
              <a:buNone/>
              <a:defRPr sz="3200"/>
            </a:lvl1pPr>
          </a:lstStyle>
          <a:p>
            <a:r>
              <a:rPr kumimoji="0" lang="en-US"/>
              <a:t>Click icon to add picture</a:t>
            </a:r>
            <a:endParaRPr kumimoji="0" lang="en-US" dirty="0"/>
          </a:p>
        </p:txBody>
      </p:sp>
    </p:spTree>
    <p:extLst>
      <p:ext uri="{BB962C8B-B14F-4D97-AF65-F5344CB8AC3E}">
        <p14:creationId xmlns:p14="http://schemas.microsoft.com/office/powerpoint/2010/main" val="56479767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a:t>Click to edit Master title style</a:t>
            </a:r>
          </a:p>
        </p:txBody>
      </p:sp>
      <p:sp>
        <p:nvSpPr>
          <p:cNvPr id="3" name="Vertical Text Placeholder 2"/>
          <p:cNvSpPr>
            <a:spLocks noGrp="1"/>
          </p:cNvSpPr>
          <p:nvPr>
            <p:ph type="body" orient="vert" idx="1"/>
          </p:nvPr>
        </p:nvSpPr>
        <p:spPr/>
        <p:txBody>
          <a:bodyPr vert="eaVert"/>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4" name="Date Placeholder 3"/>
          <p:cNvSpPr>
            <a:spLocks noGrp="1"/>
          </p:cNvSpPr>
          <p:nvPr>
            <p:ph type="dt" sz="half" idx="10"/>
          </p:nvPr>
        </p:nvSpPr>
        <p:spPr/>
        <p:txBody>
          <a:bodyPr/>
          <a:lstStyle/>
          <a:p>
            <a:fld id="{5DD884B5-C999-4FA3-B783-66F11C2D0579}" type="datetimeFigureOut">
              <a:rPr lang="en-US" smtClean="0">
                <a:solidFill>
                  <a:srgbClr val="696464"/>
                </a:solidFill>
              </a:rPr>
              <a:pPr/>
              <a:t>1/30/2020</a:t>
            </a:fld>
            <a:endParaRPr lang="en-US">
              <a:solidFill>
                <a:srgbClr val="696464"/>
              </a:solidFill>
            </a:endParaRPr>
          </a:p>
        </p:txBody>
      </p:sp>
      <p:sp>
        <p:nvSpPr>
          <p:cNvPr id="5" name="Footer Placeholder 4"/>
          <p:cNvSpPr>
            <a:spLocks noGrp="1"/>
          </p:cNvSpPr>
          <p:nvPr>
            <p:ph type="ftr" sz="quarter" idx="11"/>
          </p:nvPr>
        </p:nvSpPr>
        <p:spPr/>
        <p:txBody>
          <a:bodyPr/>
          <a:lstStyle/>
          <a:p>
            <a:endParaRPr lang="en-US">
              <a:solidFill>
                <a:srgbClr val="696464"/>
              </a:solidFill>
            </a:endParaRPr>
          </a:p>
        </p:txBody>
      </p:sp>
      <p:sp>
        <p:nvSpPr>
          <p:cNvPr id="6" name="Slide Number Placeholder 5"/>
          <p:cNvSpPr>
            <a:spLocks noGrp="1"/>
          </p:cNvSpPr>
          <p:nvPr>
            <p:ph type="sldNum" sz="quarter" idx="12"/>
          </p:nvPr>
        </p:nvSpPr>
        <p:spPr/>
        <p:txBody>
          <a:bodyPr/>
          <a:lstStyle/>
          <a:p>
            <a:fld id="{8AD6A1BA-F535-4998-B122-5EEC82DBA69C}" type="slidenum">
              <a:rPr lang="en-US" smtClean="0"/>
              <a:pPr/>
              <a:t>‹#›</a:t>
            </a:fld>
            <a:endParaRPr lang="en-US"/>
          </a:p>
        </p:txBody>
      </p:sp>
    </p:spTree>
    <p:extLst>
      <p:ext uri="{BB962C8B-B14F-4D97-AF65-F5344CB8AC3E}">
        <p14:creationId xmlns:p14="http://schemas.microsoft.com/office/powerpoint/2010/main" val="204351781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45"/>
            <a:ext cx="2011680" cy="5851525"/>
          </a:xfrm>
        </p:spPr>
        <p:txBody>
          <a:bodyPr vert="eaVert"/>
          <a:lstStyle/>
          <a:p>
            <a:r>
              <a:rPr kumimoji="0" lang="en-US"/>
              <a:t>Click to edit Master title style</a:t>
            </a:r>
          </a:p>
        </p:txBody>
      </p:sp>
      <p:sp>
        <p:nvSpPr>
          <p:cNvPr id="3" name="Vertical Text Placeholder 2"/>
          <p:cNvSpPr>
            <a:spLocks noGrp="1"/>
          </p:cNvSpPr>
          <p:nvPr>
            <p:ph type="body" orient="vert" idx="1"/>
          </p:nvPr>
        </p:nvSpPr>
        <p:spPr>
          <a:xfrm>
            <a:off x="914400" y="274642"/>
            <a:ext cx="5562600" cy="5851525"/>
          </a:xfrm>
        </p:spPr>
        <p:txBody>
          <a:bodyPr vert="eaVert"/>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4" name="Date Placeholder 3"/>
          <p:cNvSpPr>
            <a:spLocks noGrp="1"/>
          </p:cNvSpPr>
          <p:nvPr>
            <p:ph type="dt" sz="half" idx="10"/>
          </p:nvPr>
        </p:nvSpPr>
        <p:spPr/>
        <p:txBody>
          <a:bodyPr/>
          <a:lstStyle/>
          <a:p>
            <a:fld id="{5DD884B5-C999-4FA3-B783-66F11C2D0579}" type="datetimeFigureOut">
              <a:rPr lang="en-US" smtClean="0">
                <a:solidFill>
                  <a:srgbClr val="696464"/>
                </a:solidFill>
              </a:rPr>
              <a:pPr/>
              <a:t>1/30/2020</a:t>
            </a:fld>
            <a:endParaRPr lang="en-US">
              <a:solidFill>
                <a:srgbClr val="696464"/>
              </a:solidFill>
            </a:endParaRPr>
          </a:p>
        </p:txBody>
      </p:sp>
      <p:sp>
        <p:nvSpPr>
          <p:cNvPr id="5" name="Footer Placeholder 4"/>
          <p:cNvSpPr>
            <a:spLocks noGrp="1"/>
          </p:cNvSpPr>
          <p:nvPr>
            <p:ph type="ftr" sz="quarter" idx="11"/>
          </p:nvPr>
        </p:nvSpPr>
        <p:spPr/>
        <p:txBody>
          <a:bodyPr/>
          <a:lstStyle/>
          <a:p>
            <a:endParaRPr lang="en-US">
              <a:solidFill>
                <a:srgbClr val="696464"/>
              </a:solidFill>
            </a:endParaRPr>
          </a:p>
        </p:txBody>
      </p:sp>
      <p:sp>
        <p:nvSpPr>
          <p:cNvPr id="6" name="Slide Number Placeholder 5"/>
          <p:cNvSpPr>
            <a:spLocks noGrp="1"/>
          </p:cNvSpPr>
          <p:nvPr>
            <p:ph type="sldNum" sz="quarter" idx="12"/>
          </p:nvPr>
        </p:nvSpPr>
        <p:spPr/>
        <p:txBody>
          <a:bodyPr/>
          <a:lstStyle/>
          <a:p>
            <a:fld id="{8AD6A1BA-F535-4998-B122-5EEC82DBA69C}" type="slidenum">
              <a:rPr lang="en-US" smtClean="0"/>
              <a:pPr/>
              <a:t>‹#›</a:t>
            </a:fld>
            <a:endParaRPr lang="en-US"/>
          </a:p>
        </p:txBody>
      </p:sp>
    </p:spTree>
    <p:extLst>
      <p:ext uri="{BB962C8B-B14F-4D97-AF65-F5344CB8AC3E}">
        <p14:creationId xmlns:p14="http://schemas.microsoft.com/office/powerpoint/2010/main" val="87436835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p>
            <a:r>
              <a:rPr lang="en-US"/>
              <a:t>Click to edit Master title style</a:t>
            </a:r>
          </a:p>
        </p:txBody>
      </p:sp>
      <p:sp>
        <p:nvSpPr>
          <p:cNvPr id="3" name="Table Placeholder 2"/>
          <p:cNvSpPr>
            <a:spLocks noGrp="1"/>
          </p:cNvSpPr>
          <p:nvPr>
            <p:ph type="tbl" idx="1"/>
          </p:nvPr>
        </p:nvSpPr>
        <p:spPr>
          <a:xfrm>
            <a:off x="457200" y="1600204"/>
            <a:ext cx="8229600" cy="4525963"/>
          </a:xfrm>
        </p:spPr>
        <p:txBody>
          <a:bodyPr/>
          <a:lstStyle/>
          <a:p>
            <a:pPr lvl="0"/>
            <a:endParaRPr lang="en-US" noProof="0"/>
          </a:p>
        </p:txBody>
      </p:sp>
      <p:sp>
        <p:nvSpPr>
          <p:cNvPr id="4" name="Rectangle 2"/>
          <p:cNvSpPr>
            <a:spLocks noGrp="1" noChangeArrowheads="1"/>
          </p:cNvSpPr>
          <p:nvPr>
            <p:ph type="dt" sz="half" idx="10"/>
          </p:nvPr>
        </p:nvSpPr>
        <p:spPr>
          <a:ln/>
        </p:spPr>
        <p:txBody>
          <a:bodyPr/>
          <a:lstStyle>
            <a:lvl1pPr>
              <a:defRPr/>
            </a:lvl1pPr>
          </a:lstStyle>
          <a:p>
            <a:pPr>
              <a:defRPr/>
            </a:pPr>
            <a:endParaRPr lang="en-US">
              <a:solidFill>
                <a:srgbClr val="FFFFFF"/>
              </a:solidFill>
            </a:endParaRPr>
          </a:p>
        </p:txBody>
      </p:sp>
      <p:sp>
        <p:nvSpPr>
          <p:cNvPr id="5" name="Rectangle 3"/>
          <p:cNvSpPr>
            <a:spLocks noGrp="1" noChangeArrowheads="1"/>
          </p:cNvSpPr>
          <p:nvPr>
            <p:ph type="sldNum" sz="quarter" idx="11"/>
          </p:nvPr>
        </p:nvSpPr>
        <p:spPr>
          <a:ln/>
        </p:spPr>
        <p:txBody>
          <a:bodyPr/>
          <a:lstStyle>
            <a:lvl1pPr>
              <a:defRPr/>
            </a:lvl1pPr>
          </a:lstStyle>
          <a:p>
            <a:pPr>
              <a:defRPr/>
            </a:pPr>
            <a:fld id="{4A686724-DA70-4772-AF97-36A3D6D8C33C}" type="slidenum">
              <a:rPr lang="en-US"/>
              <a:pPr>
                <a:defRPr/>
              </a:pPr>
              <a:t>‹#›</a:t>
            </a:fld>
            <a:endParaRPr lang="en-US"/>
          </a:p>
        </p:txBody>
      </p:sp>
      <p:sp>
        <p:nvSpPr>
          <p:cNvPr id="6" name="Rectangle 14"/>
          <p:cNvSpPr>
            <a:spLocks noGrp="1" noChangeArrowheads="1"/>
          </p:cNvSpPr>
          <p:nvPr>
            <p:ph type="ftr" sz="quarter" idx="12"/>
          </p:nvPr>
        </p:nvSpPr>
        <p:spPr>
          <a:ln/>
        </p:spPr>
        <p:txBody>
          <a:bodyPr/>
          <a:lstStyle>
            <a:lvl1pPr>
              <a:defRPr/>
            </a:lvl1pPr>
          </a:lstStyle>
          <a:p>
            <a:pPr>
              <a:defRPr/>
            </a:pPr>
            <a:endParaRPr lang="en-US">
              <a:solidFill>
                <a:srgbClr val="FFFFFF"/>
              </a:solidFill>
            </a:endParaRPr>
          </a:p>
        </p:txBody>
      </p:sp>
    </p:spTree>
    <p:extLst>
      <p:ext uri="{BB962C8B-B14F-4D97-AF65-F5344CB8AC3E}">
        <p14:creationId xmlns:p14="http://schemas.microsoft.com/office/powerpoint/2010/main" val="1472441837"/>
      </p:ext>
    </p:extLst>
  </p:cSld>
  <p:clrMapOvr>
    <a:masterClrMapping/>
  </p:clrMapOvr>
  <p:transition>
    <p:random/>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p>
            <a:r>
              <a:rPr lang="en-US"/>
              <a:t>Click to edit Master title style</a:t>
            </a:r>
          </a:p>
        </p:txBody>
      </p:sp>
      <p:sp>
        <p:nvSpPr>
          <p:cNvPr id="3" name="Chart Placeholder 2"/>
          <p:cNvSpPr>
            <a:spLocks noGrp="1"/>
          </p:cNvSpPr>
          <p:nvPr>
            <p:ph type="chart" idx="1"/>
          </p:nvPr>
        </p:nvSpPr>
        <p:spPr>
          <a:xfrm>
            <a:off x="457200" y="1600204"/>
            <a:ext cx="8229600" cy="4525963"/>
          </a:xfrm>
        </p:spPr>
        <p:txBody>
          <a:bodyPr/>
          <a:lstStyle/>
          <a:p>
            <a:pPr lvl="0"/>
            <a:endParaRPr lang="en-US" noProof="0"/>
          </a:p>
        </p:txBody>
      </p:sp>
      <p:sp>
        <p:nvSpPr>
          <p:cNvPr id="4" name="Rectangle 2"/>
          <p:cNvSpPr>
            <a:spLocks noGrp="1" noChangeArrowheads="1"/>
          </p:cNvSpPr>
          <p:nvPr>
            <p:ph type="dt" sz="half" idx="10"/>
          </p:nvPr>
        </p:nvSpPr>
        <p:spPr>
          <a:ln/>
        </p:spPr>
        <p:txBody>
          <a:bodyPr/>
          <a:lstStyle>
            <a:lvl1pPr>
              <a:defRPr/>
            </a:lvl1pPr>
          </a:lstStyle>
          <a:p>
            <a:pPr>
              <a:defRPr/>
            </a:pPr>
            <a:endParaRPr lang="en-US">
              <a:solidFill>
                <a:srgbClr val="FFFFFF"/>
              </a:solidFill>
            </a:endParaRPr>
          </a:p>
        </p:txBody>
      </p:sp>
      <p:sp>
        <p:nvSpPr>
          <p:cNvPr id="5" name="Rectangle 3"/>
          <p:cNvSpPr>
            <a:spLocks noGrp="1" noChangeArrowheads="1"/>
          </p:cNvSpPr>
          <p:nvPr>
            <p:ph type="sldNum" sz="quarter" idx="11"/>
          </p:nvPr>
        </p:nvSpPr>
        <p:spPr>
          <a:ln/>
        </p:spPr>
        <p:txBody>
          <a:bodyPr/>
          <a:lstStyle>
            <a:lvl1pPr>
              <a:defRPr/>
            </a:lvl1pPr>
          </a:lstStyle>
          <a:p>
            <a:pPr>
              <a:defRPr/>
            </a:pPr>
            <a:fld id="{4628BF08-CA23-48A3-9568-7D4238E99667}" type="slidenum">
              <a:rPr lang="en-US"/>
              <a:pPr>
                <a:defRPr/>
              </a:pPr>
              <a:t>‹#›</a:t>
            </a:fld>
            <a:endParaRPr lang="en-US"/>
          </a:p>
        </p:txBody>
      </p:sp>
      <p:sp>
        <p:nvSpPr>
          <p:cNvPr id="6" name="Rectangle 14"/>
          <p:cNvSpPr>
            <a:spLocks noGrp="1" noChangeArrowheads="1"/>
          </p:cNvSpPr>
          <p:nvPr>
            <p:ph type="ftr" sz="quarter" idx="12"/>
          </p:nvPr>
        </p:nvSpPr>
        <p:spPr>
          <a:ln/>
        </p:spPr>
        <p:txBody>
          <a:bodyPr/>
          <a:lstStyle>
            <a:lvl1pPr>
              <a:defRPr/>
            </a:lvl1pPr>
          </a:lstStyle>
          <a:p>
            <a:pPr>
              <a:defRPr/>
            </a:pPr>
            <a:endParaRPr lang="en-US">
              <a:solidFill>
                <a:srgbClr val="FFFFFF"/>
              </a:solidFill>
            </a:endParaRPr>
          </a:p>
        </p:txBody>
      </p:sp>
    </p:spTree>
    <p:extLst>
      <p:ext uri="{BB962C8B-B14F-4D97-AF65-F5344CB8AC3E}">
        <p14:creationId xmlns:p14="http://schemas.microsoft.com/office/powerpoint/2010/main" val="1812171598"/>
      </p:ext>
    </p:extLst>
  </p:cSld>
  <p:clrMapOvr>
    <a:masterClrMapping/>
  </p:clrMapOvr>
  <p:transition>
    <p:random/>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Custom Layout">
    <p:spTree>
      <p:nvGrpSpPr>
        <p:cNvPr id="1" name=""/>
        <p:cNvGrpSpPr/>
        <p:nvPr/>
      </p:nvGrpSpPr>
      <p:grpSpPr>
        <a:xfrm>
          <a:off x="0" y="0"/>
          <a:ext cx="0" cy="0"/>
          <a:chOff x="0" y="0"/>
          <a:chExt cx="0" cy="0"/>
        </a:xfrm>
      </p:grpSpPr>
      <p:grpSp>
        <p:nvGrpSpPr>
          <p:cNvPr id="4" name="Group 4"/>
          <p:cNvGrpSpPr>
            <a:grpSpLocks/>
          </p:cNvGrpSpPr>
          <p:nvPr/>
        </p:nvGrpSpPr>
        <p:grpSpPr bwMode="auto">
          <a:xfrm>
            <a:off x="1" y="2"/>
            <a:ext cx="9140825" cy="6850063"/>
            <a:chOff x="0" y="0"/>
            <a:chExt cx="5758" cy="4315"/>
          </a:xfrm>
        </p:grpSpPr>
        <p:grpSp>
          <p:nvGrpSpPr>
            <p:cNvPr id="5" name="Group 5"/>
            <p:cNvGrpSpPr>
              <a:grpSpLocks/>
            </p:cNvGrpSpPr>
            <p:nvPr userDrawn="1"/>
          </p:nvGrpSpPr>
          <p:grpSpPr bwMode="auto">
            <a:xfrm>
              <a:off x="1728" y="2230"/>
              <a:ext cx="4027" cy="2085"/>
              <a:chOff x="1728" y="2230"/>
              <a:chExt cx="4027" cy="2085"/>
            </a:xfrm>
          </p:grpSpPr>
          <p:sp>
            <p:nvSpPr>
              <p:cNvPr id="8" name="Freeform 6"/>
              <p:cNvSpPr>
                <a:spLocks/>
              </p:cNvSpPr>
              <p:nvPr/>
            </p:nvSpPr>
            <p:spPr bwMode="hidden">
              <a:xfrm>
                <a:off x="1728" y="2644"/>
                <a:ext cx="2882" cy="1671"/>
              </a:xfrm>
              <a:custGeom>
                <a:avLst/>
                <a:gdLst/>
                <a:ahLst/>
                <a:cxnLst>
                  <a:cxn ang="0">
                    <a:pos x="2740" y="528"/>
                  </a:cxn>
                  <a:cxn ang="0">
                    <a:pos x="2632" y="484"/>
                  </a:cxn>
                  <a:cxn ang="0">
                    <a:pos x="2480" y="424"/>
                  </a:cxn>
                  <a:cxn ang="0">
                    <a:pos x="2203" y="343"/>
                  </a:cxn>
                  <a:cxn ang="0">
                    <a:pos x="1970" y="277"/>
                  </a:cxn>
                  <a:cxn ang="0">
                    <a:pos x="1807" y="212"/>
                  </a:cxn>
                  <a:cxn ang="0">
                    <a:pos x="1693" y="152"/>
                  </a:cxn>
                  <a:cxn ang="0">
                    <a:pos x="1628" y="103"/>
                  </a:cxn>
                  <a:cxn ang="0">
                    <a:pos x="1590" y="60"/>
                  </a:cxn>
                  <a:cxn ang="0">
                    <a:pos x="1579" y="27"/>
                  </a:cxn>
                  <a:cxn ang="0">
                    <a:pos x="1585" y="0"/>
                  </a:cxn>
                  <a:cxn ang="0">
                    <a:pos x="1557" y="49"/>
                  </a:cxn>
                  <a:cxn ang="0">
                    <a:pos x="1568" y="98"/>
                  </a:cxn>
                  <a:cxn ang="0">
                    <a:pos x="1617" y="141"/>
                  </a:cxn>
                  <a:cxn ang="0">
                    <a:pos x="1688" y="185"/>
                  </a:cxn>
                  <a:cxn ang="0">
                    <a:pos x="1791" y="228"/>
                  </a:cxn>
                  <a:cxn ang="0">
                    <a:pos x="2040" y="310"/>
                  </a:cxn>
                  <a:cxn ang="0">
                    <a:pos x="2285" y="381"/>
                  </a:cxn>
                  <a:cxn ang="0">
                    <a:pos x="2464" y="435"/>
                  </a:cxn>
                  <a:cxn ang="0">
                    <a:pos x="2605" y="484"/>
                  </a:cxn>
                  <a:cxn ang="0">
                    <a:pos x="2708" y="528"/>
                  </a:cxn>
                  <a:cxn ang="0">
                    <a:pos x="2768" y="560"/>
                  </a:cxn>
                  <a:cxn ang="0">
                    <a:pos x="2795" y="593"/>
                  </a:cxn>
                  <a:cxn ang="0">
                    <a:pos x="2795" y="642"/>
                  </a:cxn>
                  <a:cxn ang="0">
                    <a:pos x="2762" y="691"/>
                  </a:cxn>
                  <a:cxn ang="0">
                    <a:pos x="2692" y="735"/>
                  </a:cxn>
                  <a:cxn ang="0">
                    <a:pos x="2589" y="778"/>
                  </a:cxn>
                  <a:cxn ang="0">
                    <a:pos x="2458" y="822"/>
                  </a:cxn>
                  <a:cxn ang="0">
                    <a:pos x="2301" y="865"/>
                  </a:cxn>
                  <a:cxn ang="0">
                    <a:pos x="2030" y="930"/>
                  </a:cxn>
                  <a:cxn ang="0">
                    <a:pos x="1606" y="1034"/>
                  </a:cxn>
                  <a:cxn ang="0">
                    <a:pos x="1145" y="1164"/>
                  </a:cxn>
                  <a:cxn ang="0">
                    <a:pos x="673" y="1328"/>
                  </a:cxn>
                  <a:cxn ang="0">
                    <a:pos x="217" y="1545"/>
                  </a:cxn>
                  <a:cxn ang="0">
                    <a:pos x="353" y="1671"/>
                  </a:cxn>
                  <a:cxn ang="0">
                    <a:pos x="754" y="1469"/>
                  </a:cxn>
                  <a:cxn ang="0">
                    <a:pos x="1145" y="1311"/>
                  </a:cxn>
                  <a:cxn ang="0">
                    <a:pos x="1519" y="1186"/>
                  </a:cxn>
                  <a:cxn ang="0">
                    <a:pos x="1861" y="1083"/>
                  </a:cxn>
                  <a:cxn ang="0">
                    <a:pos x="2165" y="1007"/>
                  </a:cxn>
                  <a:cxn ang="0">
                    <a:pos x="2426" y="947"/>
                  </a:cxn>
                  <a:cxn ang="0">
                    <a:pos x="2626" y="892"/>
                  </a:cxn>
                  <a:cxn ang="0">
                    <a:pos x="2762" y="838"/>
                  </a:cxn>
                  <a:cxn ang="0">
                    <a:pos x="2827" y="794"/>
                  </a:cxn>
                  <a:cxn ang="0">
                    <a:pos x="2865" y="745"/>
                  </a:cxn>
                  <a:cxn ang="0">
                    <a:pos x="2882" y="702"/>
                  </a:cxn>
                  <a:cxn ang="0">
                    <a:pos x="2854" y="620"/>
                  </a:cxn>
                  <a:cxn ang="0">
                    <a:pos x="2800" y="560"/>
                  </a:cxn>
                  <a:cxn ang="0">
                    <a:pos x="2773" y="544"/>
                  </a:cxn>
                </a:cxnLst>
                <a:rect l="0" t="0" r="r" b="b"/>
                <a:pathLst>
                  <a:path w="2882" h="1671">
                    <a:moveTo>
                      <a:pt x="2773" y="544"/>
                    </a:moveTo>
                    <a:lnTo>
                      <a:pt x="2740" y="528"/>
                    </a:lnTo>
                    <a:lnTo>
                      <a:pt x="2692" y="506"/>
                    </a:lnTo>
                    <a:lnTo>
                      <a:pt x="2632" y="484"/>
                    </a:lnTo>
                    <a:lnTo>
                      <a:pt x="2561" y="457"/>
                    </a:lnTo>
                    <a:lnTo>
                      <a:pt x="2480" y="424"/>
                    </a:lnTo>
                    <a:lnTo>
                      <a:pt x="2388" y="397"/>
                    </a:lnTo>
                    <a:lnTo>
                      <a:pt x="2203" y="343"/>
                    </a:lnTo>
                    <a:lnTo>
                      <a:pt x="2078" y="310"/>
                    </a:lnTo>
                    <a:lnTo>
                      <a:pt x="1970" y="277"/>
                    </a:lnTo>
                    <a:lnTo>
                      <a:pt x="1878" y="245"/>
                    </a:lnTo>
                    <a:lnTo>
                      <a:pt x="1807" y="212"/>
                    </a:lnTo>
                    <a:lnTo>
                      <a:pt x="1742" y="179"/>
                    </a:lnTo>
                    <a:lnTo>
                      <a:pt x="1693" y="152"/>
                    </a:lnTo>
                    <a:lnTo>
                      <a:pt x="1655" y="125"/>
                    </a:lnTo>
                    <a:lnTo>
                      <a:pt x="1628" y="103"/>
                    </a:lnTo>
                    <a:lnTo>
                      <a:pt x="1606" y="81"/>
                    </a:lnTo>
                    <a:lnTo>
                      <a:pt x="1590" y="60"/>
                    </a:lnTo>
                    <a:lnTo>
                      <a:pt x="1585" y="43"/>
                    </a:lnTo>
                    <a:lnTo>
                      <a:pt x="1579" y="27"/>
                    </a:lnTo>
                    <a:lnTo>
                      <a:pt x="1585" y="5"/>
                    </a:lnTo>
                    <a:lnTo>
                      <a:pt x="1585" y="0"/>
                    </a:lnTo>
                    <a:lnTo>
                      <a:pt x="1568" y="27"/>
                    </a:lnTo>
                    <a:lnTo>
                      <a:pt x="1557" y="49"/>
                    </a:lnTo>
                    <a:lnTo>
                      <a:pt x="1557" y="76"/>
                    </a:lnTo>
                    <a:lnTo>
                      <a:pt x="1568" y="98"/>
                    </a:lnTo>
                    <a:lnTo>
                      <a:pt x="1590" y="120"/>
                    </a:lnTo>
                    <a:lnTo>
                      <a:pt x="1617" y="141"/>
                    </a:lnTo>
                    <a:lnTo>
                      <a:pt x="1650" y="163"/>
                    </a:lnTo>
                    <a:lnTo>
                      <a:pt x="1688" y="185"/>
                    </a:lnTo>
                    <a:lnTo>
                      <a:pt x="1737" y="207"/>
                    </a:lnTo>
                    <a:lnTo>
                      <a:pt x="1791" y="228"/>
                    </a:lnTo>
                    <a:lnTo>
                      <a:pt x="1905" y="267"/>
                    </a:lnTo>
                    <a:lnTo>
                      <a:pt x="2040" y="310"/>
                    </a:lnTo>
                    <a:lnTo>
                      <a:pt x="2182" y="348"/>
                    </a:lnTo>
                    <a:lnTo>
                      <a:pt x="2285" y="381"/>
                    </a:lnTo>
                    <a:lnTo>
                      <a:pt x="2382" y="408"/>
                    </a:lnTo>
                    <a:lnTo>
                      <a:pt x="2464" y="435"/>
                    </a:lnTo>
                    <a:lnTo>
                      <a:pt x="2540" y="462"/>
                    </a:lnTo>
                    <a:lnTo>
                      <a:pt x="2605" y="484"/>
                    </a:lnTo>
                    <a:lnTo>
                      <a:pt x="2659" y="506"/>
                    </a:lnTo>
                    <a:lnTo>
                      <a:pt x="2708" y="528"/>
                    </a:lnTo>
                    <a:lnTo>
                      <a:pt x="2740" y="544"/>
                    </a:lnTo>
                    <a:lnTo>
                      <a:pt x="2768" y="560"/>
                    </a:lnTo>
                    <a:lnTo>
                      <a:pt x="2784" y="577"/>
                    </a:lnTo>
                    <a:lnTo>
                      <a:pt x="2795" y="593"/>
                    </a:lnTo>
                    <a:lnTo>
                      <a:pt x="2800" y="615"/>
                    </a:lnTo>
                    <a:lnTo>
                      <a:pt x="2795" y="642"/>
                    </a:lnTo>
                    <a:lnTo>
                      <a:pt x="2784" y="664"/>
                    </a:lnTo>
                    <a:lnTo>
                      <a:pt x="2762" y="691"/>
                    </a:lnTo>
                    <a:lnTo>
                      <a:pt x="2730" y="713"/>
                    </a:lnTo>
                    <a:lnTo>
                      <a:pt x="2692" y="735"/>
                    </a:lnTo>
                    <a:lnTo>
                      <a:pt x="2643" y="756"/>
                    </a:lnTo>
                    <a:lnTo>
                      <a:pt x="2589" y="778"/>
                    </a:lnTo>
                    <a:lnTo>
                      <a:pt x="2529" y="800"/>
                    </a:lnTo>
                    <a:lnTo>
                      <a:pt x="2458" y="822"/>
                    </a:lnTo>
                    <a:lnTo>
                      <a:pt x="2382" y="843"/>
                    </a:lnTo>
                    <a:lnTo>
                      <a:pt x="2301" y="865"/>
                    </a:lnTo>
                    <a:lnTo>
                      <a:pt x="2214" y="887"/>
                    </a:lnTo>
                    <a:lnTo>
                      <a:pt x="2030" y="930"/>
                    </a:lnTo>
                    <a:lnTo>
                      <a:pt x="1823" y="979"/>
                    </a:lnTo>
                    <a:lnTo>
                      <a:pt x="1606" y="1034"/>
                    </a:lnTo>
                    <a:lnTo>
                      <a:pt x="1378" y="1094"/>
                    </a:lnTo>
                    <a:lnTo>
                      <a:pt x="1145" y="1164"/>
                    </a:lnTo>
                    <a:lnTo>
                      <a:pt x="912" y="1241"/>
                    </a:lnTo>
                    <a:lnTo>
                      <a:pt x="673" y="1328"/>
                    </a:lnTo>
                    <a:lnTo>
                      <a:pt x="440" y="1431"/>
                    </a:lnTo>
                    <a:lnTo>
                      <a:pt x="217" y="1545"/>
                    </a:lnTo>
                    <a:lnTo>
                      <a:pt x="0" y="1671"/>
                    </a:lnTo>
                    <a:lnTo>
                      <a:pt x="353" y="1671"/>
                    </a:lnTo>
                    <a:lnTo>
                      <a:pt x="554" y="1567"/>
                    </a:lnTo>
                    <a:lnTo>
                      <a:pt x="754" y="1469"/>
                    </a:lnTo>
                    <a:lnTo>
                      <a:pt x="955" y="1388"/>
                    </a:lnTo>
                    <a:lnTo>
                      <a:pt x="1145" y="1311"/>
                    </a:lnTo>
                    <a:lnTo>
                      <a:pt x="1335" y="1241"/>
                    </a:lnTo>
                    <a:lnTo>
                      <a:pt x="1519" y="1186"/>
                    </a:lnTo>
                    <a:lnTo>
                      <a:pt x="1693" y="1132"/>
                    </a:lnTo>
                    <a:lnTo>
                      <a:pt x="1861" y="1083"/>
                    </a:lnTo>
                    <a:lnTo>
                      <a:pt x="2019" y="1045"/>
                    </a:lnTo>
                    <a:lnTo>
                      <a:pt x="2165" y="1007"/>
                    </a:lnTo>
                    <a:lnTo>
                      <a:pt x="2301" y="974"/>
                    </a:lnTo>
                    <a:lnTo>
                      <a:pt x="2426" y="947"/>
                    </a:lnTo>
                    <a:lnTo>
                      <a:pt x="2534" y="914"/>
                    </a:lnTo>
                    <a:lnTo>
                      <a:pt x="2626" y="892"/>
                    </a:lnTo>
                    <a:lnTo>
                      <a:pt x="2702" y="865"/>
                    </a:lnTo>
                    <a:lnTo>
                      <a:pt x="2762" y="838"/>
                    </a:lnTo>
                    <a:lnTo>
                      <a:pt x="2800" y="816"/>
                    </a:lnTo>
                    <a:lnTo>
                      <a:pt x="2827" y="794"/>
                    </a:lnTo>
                    <a:lnTo>
                      <a:pt x="2849" y="767"/>
                    </a:lnTo>
                    <a:lnTo>
                      <a:pt x="2865" y="745"/>
                    </a:lnTo>
                    <a:lnTo>
                      <a:pt x="2876" y="724"/>
                    </a:lnTo>
                    <a:lnTo>
                      <a:pt x="2882" y="702"/>
                    </a:lnTo>
                    <a:lnTo>
                      <a:pt x="2876" y="658"/>
                    </a:lnTo>
                    <a:lnTo>
                      <a:pt x="2854" y="620"/>
                    </a:lnTo>
                    <a:lnTo>
                      <a:pt x="2833" y="588"/>
                    </a:lnTo>
                    <a:lnTo>
                      <a:pt x="2800" y="560"/>
                    </a:lnTo>
                    <a:lnTo>
                      <a:pt x="2773" y="544"/>
                    </a:lnTo>
                    <a:lnTo>
                      <a:pt x="2773" y="544"/>
                    </a:lnTo>
                    <a:close/>
                  </a:path>
                </a:pathLst>
              </a:custGeom>
              <a:gradFill rotWithShape="0">
                <a:gsLst>
                  <a:gs pos="0">
                    <a:schemeClr val="bg1"/>
                  </a:gs>
                  <a:gs pos="100000">
                    <a:schemeClr val="bg1">
                      <a:gamma/>
                      <a:shade val="90980"/>
                      <a:invGamma/>
                    </a:schemeClr>
                  </a:gs>
                </a:gsLst>
                <a:lin ang="0" scaled="1"/>
              </a:gradFill>
              <a:ln w="9525">
                <a:noFill/>
                <a:round/>
                <a:headEnd/>
                <a:tailEnd/>
              </a:ln>
            </p:spPr>
            <p:txBody>
              <a:bodyPr/>
              <a:lstStyle/>
              <a:p>
                <a:pPr eaLnBrk="0" fontAlgn="base" hangingPunct="0">
                  <a:spcBef>
                    <a:spcPct val="0"/>
                  </a:spcBef>
                  <a:spcAft>
                    <a:spcPct val="0"/>
                  </a:spcAft>
                  <a:defRPr/>
                </a:pPr>
                <a:endParaRPr lang="en-US" sz="1800">
                  <a:solidFill>
                    <a:srgbClr val="FFFFFF"/>
                  </a:solidFill>
                </a:endParaRPr>
              </a:p>
            </p:txBody>
          </p:sp>
          <p:sp>
            <p:nvSpPr>
              <p:cNvPr id="9" name="Freeform 7"/>
              <p:cNvSpPr>
                <a:spLocks/>
              </p:cNvSpPr>
              <p:nvPr/>
            </p:nvSpPr>
            <p:spPr bwMode="hidden">
              <a:xfrm>
                <a:off x="4170" y="2671"/>
                <a:ext cx="1259" cy="811"/>
              </a:xfrm>
              <a:custGeom>
                <a:avLst/>
                <a:gdLst/>
                <a:ahLst/>
                <a:cxnLst>
                  <a:cxn ang="0">
                    <a:pos x="1259" y="615"/>
                  </a:cxn>
                  <a:cxn ang="0">
                    <a:pos x="1248" y="588"/>
                  </a:cxn>
                  <a:cxn ang="0">
                    <a:pos x="1237" y="566"/>
                  </a:cxn>
                  <a:cxn ang="0">
                    <a:pos x="1216" y="539"/>
                  </a:cxn>
                  <a:cxn ang="0">
                    <a:pos x="1188" y="517"/>
                  </a:cxn>
                  <a:cxn ang="0">
                    <a:pos x="1123" y="479"/>
                  </a:cxn>
                  <a:cxn ang="0">
                    <a:pos x="1042" y="441"/>
                  </a:cxn>
                  <a:cxn ang="0">
                    <a:pos x="944" y="408"/>
                  </a:cxn>
                  <a:cxn ang="0">
                    <a:pos x="841" y="381"/>
                  </a:cxn>
                  <a:cxn ang="0">
                    <a:pos x="727" y="348"/>
                  </a:cxn>
                  <a:cxn ang="0">
                    <a:pos x="613" y="321"/>
                  </a:cxn>
                  <a:cxn ang="0">
                    <a:pos x="499" y="294"/>
                  </a:cxn>
                  <a:cxn ang="0">
                    <a:pos x="391" y="261"/>
                  </a:cxn>
                  <a:cxn ang="0">
                    <a:pos x="288" y="229"/>
                  </a:cxn>
                  <a:cxn ang="0">
                    <a:pos x="195" y="196"/>
                  </a:cxn>
                  <a:cxn ang="0">
                    <a:pos x="119" y="152"/>
                  </a:cxn>
                  <a:cxn ang="0">
                    <a:pos x="54" y="109"/>
                  </a:cxn>
                  <a:cxn ang="0">
                    <a:pos x="33" y="87"/>
                  </a:cxn>
                  <a:cxn ang="0">
                    <a:pos x="16" y="60"/>
                  </a:cxn>
                  <a:cxn ang="0">
                    <a:pos x="5" y="33"/>
                  </a:cxn>
                  <a:cxn ang="0">
                    <a:pos x="0" y="0"/>
                  </a:cxn>
                  <a:cxn ang="0">
                    <a:pos x="0" y="6"/>
                  </a:cxn>
                  <a:cxn ang="0">
                    <a:pos x="0" y="11"/>
                  </a:cxn>
                  <a:cxn ang="0">
                    <a:pos x="0" y="38"/>
                  </a:cxn>
                  <a:cxn ang="0">
                    <a:pos x="5" y="60"/>
                  </a:cxn>
                  <a:cxn ang="0">
                    <a:pos x="16" y="87"/>
                  </a:cxn>
                  <a:cxn ang="0">
                    <a:pos x="33" y="114"/>
                  </a:cxn>
                  <a:cxn ang="0">
                    <a:pos x="54" y="142"/>
                  </a:cxn>
                  <a:cxn ang="0">
                    <a:pos x="87" y="174"/>
                  </a:cxn>
                  <a:cxn ang="0">
                    <a:pos x="125" y="207"/>
                  </a:cxn>
                  <a:cxn ang="0">
                    <a:pos x="179" y="240"/>
                  </a:cxn>
                  <a:cxn ang="0">
                    <a:pos x="244" y="278"/>
                  </a:cxn>
                  <a:cxn ang="0">
                    <a:pos x="326" y="310"/>
                  </a:cxn>
                  <a:cxn ang="0">
                    <a:pos x="418" y="348"/>
                  </a:cxn>
                  <a:cxn ang="0">
                    <a:pos x="526" y="381"/>
                  </a:cxn>
                  <a:cxn ang="0">
                    <a:pos x="657" y="414"/>
                  </a:cxn>
                  <a:cxn ang="0">
                    <a:pos x="749" y="435"/>
                  </a:cxn>
                  <a:cxn ang="0">
                    <a:pos x="830" y="463"/>
                  </a:cxn>
                  <a:cxn ang="0">
                    <a:pos x="901" y="490"/>
                  </a:cxn>
                  <a:cxn ang="0">
                    <a:pos x="966" y="512"/>
                  </a:cxn>
                  <a:cxn ang="0">
                    <a:pos x="1015" y="539"/>
                  </a:cxn>
                  <a:cxn ang="0">
                    <a:pos x="1053" y="566"/>
                  </a:cxn>
                  <a:cxn ang="0">
                    <a:pos x="1080" y="593"/>
                  </a:cxn>
                  <a:cxn ang="0">
                    <a:pos x="1102" y="620"/>
                  </a:cxn>
                  <a:cxn ang="0">
                    <a:pos x="1112" y="648"/>
                  </a:cxn>
                  <a:cxn ang="0">
                    <a:pos x="1118" y="675"/>
                  </a:cxn>
                  <a:cxn ang="0">
                    <a:pos x="1112" y="697"/>
                  </a:cxn>
                  <a:cxn ang="0">
                    <a:pos x="1096" y="724"/>
                  </a:cxn>
                  <a:cxn ang="0">
                    <a:pos x="1080" y="746"/>
                  </a:cxn>
                  <a:cxn ang="0">
                    <a:pos x="1053" y="767"/>
                  </a:cxn>
                  <a:cxn ang="0">
                    <a:pos x="1015" y="789"/>
                  </a:cxn>
                  <a:cxn ang="0">
                    <a:pos x="977" y="811"/>
                  </a:cxn>
                  <a:cxn ang="0">
                    <a:pos x="1047" y="789"/>
                  </a:cxn>
                  <a:cxn ang="0">
                    <a:pos x="1107" y="767"/>
                  </a:cxn>
                  <a:cxn ang="0">
                    <a:pos x="1156" y="746"/>
                  </a:cxn>
                  <a:cxn ang="0">
                    <a:pos x="1199" y="724"/>
                  </a:cxn>
                  <a:cxn ang="0">
                    <a:pos x="1226" y="702"/>
                  </a:cxn>
                  <a:cxn ang="0">
                    <a:pos x="1248" y="675"/>
                  </a:cxn>
                  <a:cxn ang="0">
                    <a:pos x="1259" y="648"/>
                  </a:cxn>
                  <a:cxn ang="0">
                    <a:pos x="1259" y="615"/>
                  </a:cxn>
                  <a:cxn ang="0">
                    <a:pos x="1259" y="615"/>
                  </a:cxn>
                </a:cxnLst>
                <a:rect l="0" t="0" r="r" b="b"/>
                <a:pathLst>
                  <a:path w="1259" h="811">
                    <a:moveTo>
                      <a:pt x="1259" y="615"/>
                    </a:moveTo>
                    <a:lnTo>
                      <a:pt x="1248" y="588"/>
                    </a:lnTo>
                    <a:lnTo>
                      <a:pt x="1237" y="566"/>
                    </a:lnTo>
                    <a:lnTo>
                      <a:pt x="1216" y="539"/>
                    </a:lnTo>
                    <a:lnTo>
                      <a:pt x="1188" y="517"/>
                    </a:lnTo>
                    <a:lnTo>
                      <a:pt x="1123" y="479"/>
                    </a:lnTo>
                    <a:lnTo>
                      <a:pt x="1042" y="441"/>
                    </a:lnTo>
                    <a:lnTo>
                      <a:pt x="944" y="408"/>
                    </a:lnTo>
                    <a:lnTo>
                      <a:pt x="841" y="381"/>
                    </a:lnTo>
                    <a:lnTo>
                      <a:pt x="727" y="348"/>
                    </a:lnTo>
                    <a:lnTo>
                      <a:pt x="613" y="321"/>
                    </a:lnTo>
                    <a:lnTo>
                      <a:pt x="499" y="294"/>
                    </a:lnTo>
                    <a:lnTo>
                      <a:pt x="391" y="261"/>
                    </a:lnTo>
                    <a:lnTo>
                      <a:pt x="288" y="229"/>
                    </a:lnTo>
                    <a:lnTo>
                      <a:pt x="195" y="196"/>
                    </a:lnTo>
                    <a:lnTo>
                      <a:pt x="119" y="152"/>
                    </a:lnTo>
                    <a:lnTo>
                      <a:pt x="54" y="109"/>
                    </a:lnTo>
                    <a:lnTo>
                      <a:pt x="33" y="87"/>
                    </a:lnTo>
                    <a:lnTo>
                      <a:pt x="16" y="60"/>
                    </a:lnTo>
                    <a:lnTo>
                      <a:pt x="5" y="33"/>
                    </a:lnTo>
                    <a:lnTo>
                      <a:pt x="0" y="0"/>
                    </a:lnTo>
                    <a:lnTo>
                      <a:pt x="0" y="6"/>
                    </a:lnTo>
                    <a:lnTo>
                      <a:pt x="0" y="11"/>
                    </a:lnTo>
                    <a:lnTo>
                      <a:pt x="0" y="38"/>
                    </a:lnTo>
                    <a:lnTo>
                      <a:pt x="5" y="60"/>
                    </a:lnTo>
                    <a:lnTo>
                      <a:pt x="16" y="87"/>
                    </a:lnTo>
                    <a:lnTo>
                      <a:pt x="33" y="114"/>
                    </a:lnTo>
                    <a:lnTo>
                      <a:pt x="54" y="142"/>
                    </a:lnTo>
                    <a:lnTo>
                      <a:pt x="87" y="174"/>
                    </a:lnTo>
                    <a:lnTo>
                      <a:pt x="125" y="207"/>
                    </a:lnTo>
                    <a:lnTo>
                      <a:pt x="179" y="240"/>
                    </a:lnTo>
                    <a:lnTo>
                      <a:pt x="244" y="278"/>
                    </a:lnTo>
                    <a:lnTo>
                      <a:pt x="326" y="310"/>
                    </a:lnTo>
                    <a:lnTo>
                      <a:pt x="418" y="348"/>
                    </a:lnTo>
                    <a:lnTo>
                      <a:pt x="526" y="381"/>
                    </a:lnTo>
                    <a:lnTo>
                      <a:pt x="657" y="414"/>
                    </a:lnTo>
                    <a:lnTo>
                      <a:pt x="749" y="435"/>
                    </a:lnTo>
                    <a:lnTo>
                      <a:pt x="830" y="463"/>
                    </a:lnTo>
                    <a:lnTo>
                      <a:pt x="901" y="490"/>
                    </a:lnTo>
                    <a:lnTo>
                      <a:pt x="966" y="512"/>
                    </a:lnTo>
                    <a:lnTo>
                      <a:pt x="1015" y="539"/>
                    </a:lnTo>
                    <a:lnTo>
                      <a:pt x="1053" y="566"/>
                    </a:lnTo>
                    <a:lnTo>
                      <a:pt x="1080" y="593"/>
                    </a:lnTo>
                    <a:lnTo>
                      <a:pt x="1102" y="620"/>
                    </a:lnTo>
                    <a:lnTo>
                      <a:pt x="1112" y="648"/>
                    </a:lnTo>
                    <a:lnTo>
                      <a:pt x="1118" y="675"/>
                    </a:lnTo>
                    <a:lnTo>
                      <a:pt x="1112" y="697"/>
                    </a:lnTo>
                    <a:lnTo>
                      <a:pt x="1096" y="724"/>
                    </a:lnTo>
                    <a:lnTo>
                      <a:pt x="1080" y="746"/>
                    </a:lnTo>
                    <a:lnTo>
                      <a:pt x="1053" y="767"/>
                    </a:lnTo>
                    <a:lnTo>
                      <a:pt x="1015" y="789"/>
                    </a:lnTo>
                    <a:lnTo>
                      <a:pt x="977" y="811"/>
                    </a:lnTo>
                    <a:lnTo>
                      <a:pt x="1047" y="789"/>
                    </a:lnTo>
                    <a:lnTo>
                      <a:pt x="1107" y="767"/>
                    </a:lnTo>
                    <a:lnTo>
                      <a:pt x="1156" y="746"/>
                    </a:lnTo>
                    <a:lnTo>
                      <a:pt x="1199" y="724"/>
                    </a:lnTo>
                    <a:lnTo>
                      <a:pt x="1226" y="702"/>
                    </a:lnTo>
                    <a:lnTo>
                      <a:pt x="1248" y="675"/>
                    </a:lnTo>
                    <a:lnTo>
                      <a:pt x="1259" y="648"/>
                    </a:lnTo>
                    <a:lnTo>
                      <a:pt x="1259" y="615"/>
                    </a:lnTo>
                    <a:lnTo>
                      <a:pt x="1259" y="615"/>
                    </a:lnTo>
                    <a:close/>
                  </a:path>
                </a:pathLst>
              </a:custGeom>
              <a:gradFill rotWithShape="0">
                <a:gsLst>
                  <a:gs pos="0">
                    <a:schemeClr val="bg1"/>
                  </a:gs>
                  <a:gs pos="100000">
                    <a:schemeClr val="bg1">
                      <a:gamma/>
                      <a:shade val="90980"/>
                      <a:invGamma/>
                    </a:schemeClr>
                  </a:gs>
                </a:gsLst>
                <a:lin ang="2700000" scaled="1"/>
              </a:gradFill>
              <a:ln w="9525">
                <a:noFill/>
                <a:round/>
                <a:headEnd/>
                <a:tailEnd/>
              </a:ln>
            </p:spPr>
            <p:txBody>
              <a:bodyPr/>
              <a:lstStyle/>
              <a:p>
                <a:pPr eaLnBrk="0" fontAlgn="base" hangingPunct="0">
                  <a:spcBef>
                    <a:spcPct val="0"/>
                  </a:spcBef>
                  <a:spcAft>
                    <a:spcPct val="0"/>
                  </a:spcAft>
                  <a:defRPr/>
                </a:pPr>
                <a:endParaRPr lang="en-US" sz="1800">
                  <a:solidFill>
                    <a:srgbClr val="FFFFFF"/>
                  </a:solidFill>
                </a:endParaRPr>
              </a:p>
            </p:txBody>
          </p:sp>
          <p:sp>
            <p:nvSpPr>
              <p:cNvPr id="10" name="Freeform 8"/>
              <p:cNvSpPr>
                <a:spLocks/>
              </p:cNvSpPr>
              <p:nvPr/>
            </p:nvSpPr>
            <p:spPr bwMode="hidden">
              <a:xfrm>
                <a:off x="2900" y="3346"/>
                <a:ext cx="2849" cy="969"/>
              </a:xfrm>
              <a:custGeom>
                <a:avLst/>
                <a:gdLst/>
                <a:ahLst/>
                <a:cxnLst>
                  <a:cxn ang="0">
                    <a:pos x="92" y="958"/>
                  </a:cxn>
                  <a:cxn ang="0">
                    <a:pos x="0" y="969"/>
                  </a:cxn>
                  <a:cxn ang="0">
                    <a:pos x="391" y="969"/>
                  </a:cxn>
                  <a:cxn ang="0">
                    <a:pos x="434" y="947"/>
                  </a:cxn>
                  <a:cxn ang="0">
                    <a:pos x="483" y="914"/>
                  </a:cxn>
                  <a:cxn ang="0">
                    <a:pos x="554" y="876"/>
                  </a:cxn>
                  <a:cxn ang="0">
                    <a:pos x="635" y="838"/>
                  </a:cxn>
                  <a:cxn ang="0">
                    <a:pos x="727" y="794"/>
                  </a:cxn>
                  <a:cxn ang="0">
                    <a:pos x="836" y="745"/>
                  </a:cxn>
                  <a:cxn ang="0">
                    <a:pos x="961" y="696"/>
                  </a:cxn>
                  <a:cxn ang="0">
                    <a:pos x="1102" y="642"/>
                  </a:cxn>
                  <a:cxn ang="0">
                    <a:pos x="1259" y="582"/>
                  </a:cxn>
                  <a:cxn ang="0">
                    <a:pos x="1433" y="522"/>
                  </a:cxn>
                  <a:cxn ang="0">
                    <a:pos x="1623" y="462"/>
                  </a:cxn>
                  <a:cxn ang="0">
                    <a:pos x="1829" y="403"/>
                  </a:cxn>
                  <a:cxn ang="0">
                    <a:pos x="2057" y="343"/>
                  </a:cxn>
                  <a:cxn ang="0">
                    <a:pos x="2301" y="283"/>
                  </a:cxn>
                  <a:cxn ang="0">
                    <a:pos x="2567" y="223"/>
                  </a:cxn>
                  <a:cxn ang="0">
                    <a:pos x="2849" y="163"/>
                  </a:cxn>
                  <a:cxn ang="0">
                    <a:pos x="2849" y="0"/>
                  </a:cxn>
                  <a:cxn ang="0">
                    <a:pos x="2817" y="16"/>
                  </a:cxn>
                  <a:cxn ang="0">
                    <a:pos x="2773" y="33"/>
                  </a:cxn>
                  <a:cxn ang="0">
                    <a:pos x="2719" y="54"/>
                  </a:cxn>
                  <a:cxn ang="0">
                    <a:pos x="2648" y="76"/>
                  </a:cxn>
                  <a:cxn ang="0">
                    <a:pos x="2572" y="98"/>
                  </a:cxn>
                  <a:cxn ang="0">
                    <a:pos x="2491" y="120"/>
                  </a:cxn>
                  <a:cxn ang="0">
                    <a:pos x="2399" y="147"/>
                  </a:cxn>
                  <a:cxn ang="0">
                    <a:pos x="2301" y="169"/>
                  </a:cxn>
                  <a:cxn ang="0">
                    <a:pos x="2095" y="223"/>
                  </a:cxn>
                  <a:cxn ang="0">
                    <a:pos x="1889" y="277"/>
                  </a:cxn>
                  <a:cxn ang="0">
                    <a:pos x="1688" y="326"/>
                  </a:cxn>
                  <a:cxn ang="0">
                    <a:pos x="1590" y="354"/>
                  </a:cxn>
                  <a:cxn ang="0">
                    <a:pos x="1503" y="381"/>
                  </a:cxn>
                  <a:cxn ang="0">
                    <a:pos x="1107" y="506"/>
                  </a:cxn>
                  <a:cxn ang="0">
                    <a:pos x="912" y="577"/>
                  </a:cxn>
                  <a:cxn ang="0">
                    <a:pos x="727" y="647"/>
                  </a:cxn>
                  <a:cxn ang="0">
                    <a:pos x="548" y="718"/>
                  </a:cxn>
                  <a:cxn ang="0">
                    <a:pos x="380" y="794"/>
                  </a:cxn>
                  <a:cxn ang="0">
                    <a:pos x="228" y="876"/>
                  </a:cxn>
                  <a:cxn ang="0">
                    <a:pos x="92" y="958"/>
                  </a:cxn>
                  <a:cxn ang="0">
                    <a:pos x="92" y="958"/>
                  </a:cxn>
                </a:cxnLst>
                <a:rect l="0" t="0" r="r" b="b"/>
                <a:pathLst>
                  <a:path w="2849" h="969">
                    <a:moveTo>
                      <a:pt x="92" y="958"/>
                    </a:moveTo>
                    <a:lnTo>
                      <a:pt x="0" y="969"/>
                    </a:lnTo>
                    <a:lnTo>
                      <a:pt x="391" y="969"/>
                    </a:lnTo>
                    <a:lnTo>
                      <a:pt x="434" y="947"/>
                    </a:lnTo>
                    <a:lnTo>
                      <a:pt x="483" y="914"/>
                    </a:lnTo>
                    <a:lnTo>
                      <a:pt x="554" y="876"/>
                    </a:lnTo>
                    <a:lnTo>
                      <a:pt x="635" y="838"/>
                    </a:lnTo>
                    <a:lnTo>
                      <a:pt x="727" y="794"/>
                    </a:lnTo>
                    <a:lnTo>
                      <a:pt x="836" y="745"/>
                    </a:lnTo>
                    <a:lnTo>
                      <a:pt x="961" y="696"/>
                    </a:lnTo>
                    <a:lnTo>
                      <a:pt x="1102" y="642"/>
                    </a:lnTo>
                    <a:lnTo>
                      <a:pt x="1259" y="582"/>
                    </a:lnTo>
                    <a:lnTo>
                      <a:pt x="1433" y="522"/>
                    </a:lnTo>
                    <a:lnTo>
                      <a:pt x="1623" y="462"/>
                    </a:lnTo>
                    <a:lnTo>
                      <a:pt x="1829" y="403"/>
                    </a:lnTo>
                    <a:lnTo>
                      <a:pt x="2057" y="343"/>
                    </a:lnTo>
                    <a:lnTo>
                      <a:pt x="2301" y="283"/>
                    </a:lnTo>
                    <a:lnTo>
                      <a:pt x="2567" y="223"/>
                    </a:lnTo>
                    <a:lnTo>
                      <a:pt x="2849" y="163"/>
                    </a:lnTo>
                    <a:lnTo>
                      <a:pt x="2849" y="0"/>
                    </a:lnTo>
                    <a:lnTo>
                      <a:pt x="2817" y="16"/>
                    </a:lnTo>
                    <a:lnTo>
                      <a:pt x="2773" y="33"/>
                    </a:lnTo>
                    <a:lnTo>
                      <a:pt x="2719" y="54"/>
                    </a:lnTo>
                    <a:lnTo>
                      <a:pt x="2648" y="76"/>
                    </a:lnTo>
                    <a:lnTo>
                      <a:pt x="2572" y="98"/>
                    </a:lnTo>
                    <a:lnTo>
                      <a:pt x="2491" y="120"/>
                    </a:lnTo>
                    <a:lnTo>
                      <a:pt x="2399" y="147"/>
                    </a:lnTo>
                    <a:lnTo>
                      <a:pt x="2301" y="169"/>
                    </a:lnTo>
                    <a:lnTo>
                      <a:pt x="2095" y="223"/>
                    </a:lnTo>
                    <a:lnTo>
                      <a:pt x="1889" y="277"/>
                    </a:lnTo>
                    <a:lnTo>
                      <a:pt x="1688" y="326"/>
                    </a:lnTo>
                    <a:lnTo>
                      <a:pt x="1590" y="354"/>
                    </a:lnTo>
                    <a:lnTo>
                      <a:pt x="1503" y="381"/>
                    </a:lnTo>
                    <a:lnTo>
                      <a:pt x="1107" y="506"/>
                    </a:lnTo>
                    <a:lnTo>
                      <a:pt x="912" y="577"/>
                    </a:lnTo>
                    <a:lnTo>
                      <a:pt x="727" y="647"/>
                    </a:lnTo>
                    <a:lnTo>
                      <a:pt x="548" y="718"/>
                    </a:lnTo>
                    <a:lnTo>
                      <a:pt x="380" y="794"/>
                    </a:lnTo>
                    <a:lnTo>
                      <a:pt x="228" y="876"/>
                    </a:lnTo>
                    <a:lnTo>
                      <a:pt x="92" y="958"/>
                    </a:lnTo>
                    <a:lnTo>
                      <a:pt x="92" y="958"/>
                    </a:lnTo>
                    <a:close/>
                  </a:path>
                </a:pathLst>
              </a:custGeom>
              <a:gradFill rotWithShape="0">
                <a:gsLst>
                  <a:gs pos="0">
                    <a:schemeClr val="bg1">
                      <a:gamma/>
                      <a:shade val="81961"/>
                      <a:invGamma/>
                    </a:schemeClr>
                  </a:gs>
                  <a:gs pos="100000">
                    <a:schemeClr val="bg1"/>
                  </a:gs>
                </a:gsLst>
                <a:lin ang="5400000" scaled="1"/>
              </a:gradFill>
              <a:ln w="9525">
                <a:noFill/>
                <a:round/>
                <a:headEnd/>
                <a:tailEnd/>
              </a:ln>
            </p:spPr>
            <p:txBody>
              <a:bodyPr/>
              <a:lstStyle/>
              <a:p>
                <a:pPr eaLnBrk="0" fontAlgn="base" hangingPunct="0">
                  <a:spcBef>
                    <a:spcPct val="0"/>
                  </a:spcBef>
                  <a:spcAft>
                    <a:spcPct val="0"/>
                  </a:spcAft>
                  <a:defRPr/>
                </a:pPr>
                <a:endParaRPr lang="en-US" sz="1800">
                  <a:solidFill>
                    <a:srgbClr val="FFFFFF"/>
                  </a:solidFill>
                </a:endParaRPr>
              </a:p>
            </p:txBody>
          </p:sp>
          <p:sp>
            <p:nvSpPr>
              <p:cNvPr id="11" name="Freeform 9"/>
              <p:cNvSpPr>
                <a:spLocks/>
              </p:cNvSpPr>
              <p:nvPr/>
            </p:nvSpPr>
            <p:spPr bwMode="hidden">
              <a:xfrm>
                <a:off x="2748" y="2230"/>
                <a:ext cx="3007" cy="2085"/>
              </a:xfrm>
              <a:custGeom>
                <a:avLst/>
                <a:gdLst/>
                <a:ahLst/>
                <a:cxnLst>
                  <a:cxn ang="0">
                    <a:pos x="1433" y="474"/>
                  </a:cxn>
                  <a:cxn ang="0">
                    <a:pos x="1460" y="528"/>
                  </a:cxn>
                  <a:cxn ang="0">
                    <a:pos x="1541" y="593"/>
                  </a:cxn>
                  <a:cxn ang="0">
                    <a:pos x="1715" y="670"/>
                  </a:cxn>
                  <a:cxn ang="0">
                    <a:pos x="1927" y="735"/>
                  </a:cxn>
                  <a:cxn ang="0">
                    <a:pos x="2155" y="789"/>
                  </a:cxn>
                  <a:cxn ang="0">
                    <a:pos x="2372" y="849"/>
                  </a:cxn>
                  <a:cxn ang="0">
                    <a:pos x="2551" y="920"/>
                  </a:cxn>
                  <a:cxn ang="0">
                    <a:pos x="2638" y="980"/>
                  </a:cxn>
                  <a:cxn ang="0">
                    <a:pos x="2676" y="1029"/>
                  </a:cxn>
                  <a:cxn ang="0">
                    <a:pos x="2681" y="1083"/>
                  </a:cxn>
                  <a:cxn ang="0">
                    <a:pos x="2665" y="1127"/>
                  </a:cxn>
                  <a:cxn ang="0">
                    <a:pos x="2616" y="1170"/>
                  </a:cxn>
                  <a:cxn ang="0">
                    <a:pos x="2545" y="1208"/>
                  </a:cxn>
                  <a:cxn ang="0">
                    <a:pos x="2448" y="1241"/>
                  </a:cxn>
                  <a:cxn ang="0">
                    <a:pos x="2328" y="1274"/>
                  </a:cxn>
                  <a:cxn ang="0">
                    <a:pos x="2106" y="1328"/>
                  </a:cxn>
                  <a:cxn ang="0">
                    <a:pos x="1742" y="1421"/>
                  </a:cxn>
                  <a:cxn ang="0">
                    <a:pos x="1308" y="1540"/>
                  </a:cxn>
                  <a:cxn ang="0">
                    <a:pos x="820" y="1709"/>
                  </a:cxn>
                  <a:cxn ang="0">
                    <a:pos x="282" y="1943"/>
                  </a:cxn>
                  <a:cxn ang="0">
                    <a:pos x="152" y="2085"/>
                  </a:cxn>
                  <a:cxn ang="0">
                    <a:pos x="386" y="1992"/>
                  </a:cxn>
                  <a:cxn ang="0">
                    <a:pos x="700" y="1834"/>
                  </a:cxn>
                  <a:cxn ang="0">
                    <a:pos x="1064" y="1693"/>
                  </a:cxn>
                  <a:cxn ang="0">
                    <a:pos x="1661" y="1497"/>
                  </a:cxn>
                  <a:cxn ang="0">
                    <a:pos x="1845" y="1442"/>
                  </a:cxn>
                  <a:cxn ang="0">
                    <a:pos x="2252" y="1339"/>
                  </a:cxn>
                  <a:cxn ang="0">
                    <a:pos x="2551" y="1263"/>
                  </a:cxn>
                  <a:cxn ang="0">
                    <a:pos x="2730" y="1214"/>
                  </a:cxn>
                  <a:cxn ang="0">
                    <a:pos x="2876" y="1170"/>
                  </a:cxn>
                  <a:cxn ang="0">
                    <a:pos x="2974" y="1132"/>
                  </a:cxn>
                  <a:cxn ang="0">
                    <a:pos x="3007" y="871"/>
                  </a:cxn>
                  <a:cxn ang="0">
                    <a:pos x="2860" y="844"/>
                  </a:cxn>
                  <a:cxn ang="0">
                    <a:pos x="2670" y="806"/>
                  </a:cxn>
                  <a:cxn ang="0">
                    <a:pos x="2458" y="757"/>
                  </a:cxn>
                  <a:cxn ang="0">
                    <a:pos x="2138" y="670"/>
                  </a:cxn>
                  <a:cxn ang="0">
                    <a:pos x="1959" y="604"/>
                  </a:cxn>
                  <a:cxn ang="0">
                    <a:pos x="1824" y="534"/>
                  </a:cxn>
                  <a:cxn ang="0">
                    <a:pos x="1769" y="474"/>
                  </a:cxn>
                  <a:cxn ang="0">
                    <a:pos x="1753" y="436"/>
                  </a:cxn>
                  <a:cxn ang="0">
                    <a:pos x="1780" y="381"/>
                  </a:cxn>
                  <a:cxn ang="0">
                    <a:pos x="1862" y="316"/>
                  </a:cxn>
                  <a:cxn ang="0">
                    <a:pos x="1986" y="267"/>
                  </a:cxn>
                  <a:cxn ang="0">
                    <a:pos x="2149" y="229"/>
                  </a:cxn>
                  <a:cxn ang="0">
                    <a:pos x="2431" y="180"/>
                  </a:cxn>
                  <a:cxn ang="0">
                    <a:pos x="2827" y="125"/>
                  </a:cxn>
                  <a:cxn ang="0">
                    <a:pos x="3007" y="87"/>
                  </a:cxn>
                  <a:cxn ang="0">
                    <a:pos x="2909" y="22"/>
                  </a:cxn>
                  <a:cxn ang="0">
                    <a:pos x="2676" y="66"/>
                  </a:cxn>
                  <a:cxn ang="0">
                    <a:pos x="2285" y="120"/>
                  </a:cxn>
                  <a:cxn ang="0">
                    <a:pos x="2030" y="158"/>
                  </a:cxn>
                  <a:cxn ang="0">
                    <a:pos x="1791" y="202"/>
                  </a:cxn>
                  <a:cxn ang="0">
                    <a:pos x="1601" y="261"/>
                  </a:cxn>
                  <a:cxn ang="0">
                    <a:pos x="1471" y="338"/>
                  </a:cxn>
                  <a:cxn ang="0">
                    <a:pos x="1438" y="387"/>
                  </a:cxn>
                  <a:cxn ang="0">
                    <a:pos x="1427" y="441"/>
                  </a:cxn>
                </a:cxnLst>
                <a:rect l="0" t="0" r="r" b="b"/>
                <a:pathLst>
                  <a:path w="3007" h="2085">
                    <a:moveTo>
                      <a:pt x="1427" y="441"/>
                    </a:moveTo>
                    <a:lnTo>
                      <a:pt x="1433" y="474"/>
                    </a:lnTo>
                    <a:lnTo>
                      <a:pt x="1444" y="501"/>
                    </a:lnTo>
                    <a:lnTo>
                      <a:pt x="1460" y="528"/>
                    </a:lnTo>
                    <a:lnTo>
                      <a:pt x="1482" y="550"/>
                    </a:lnTo>
                    <a:lnTo>
                      <a:pt x="1541" y="593"/>
                    </a:lnTo>
                    <a:lnTo>
                      <a:pt x="1623" y="637"/>
                    </a:lnTo>
                    <a:lnTo>
                      <a:pt x="1715" y="670"/>
                    </a:lnTo>
                    <a:lnTo>
                      <a:pt x="1818" y="702"/>
                    </a:lnTo>
                    <a:lnTo>
                      <a:pt x="1927" y="735"/>
                    </a:lnTo>
                    <a:lnTo>
                      <a:pt x="2041" y="762"/>
                    </a:lnTo>
                    <a:lnTo>
                      <a:pt x="2155" y="789"/>
                    </a:lnTo>
                    <a:lnTo>
                      <a:pt x="2269" y="822"/>
                    </a:lnTo>
                    <a:lnTo>
                      <a:pt x="2372" y="849"/>
                    </a:lnTo>
                    <a:lnTo>
                      <a:pt x="2464" y="882"/>
                    </a:lnTo>
                    <a:lnTo>
                      <a:pt x="2551" y="920"/>
                    </a:lnTo>
                    <a:lnTo>
                      <a:pt x="2616" y="958"/>
                    </a:lnTo>
                    <a:lnTo>
                      <a:pt x="2638" y="980"/>
                    </a:lnTo>
                    <a:lnTo>
                      <a:pt x="2659" y="1007"/>
                    </a:lnTo>
                    <a:lnTo>
                      <a:pt x="2676" y="1029"/>
                    </a:lnTo>
                    <a:lnTo>
                      <a:pt x="2681" y="1056"/>
                    </a:lnTo>
                    <a:lnTo>
                      <a:pt x="2681" y="1083"/>
                    </a:lnTo>
                    <a:lnTo>
                      <a:pt x="2676" y="1105"/>
                    </a:lnTo>
                    <a:lnTo>
                      <a:pt x="2665" y="1127"/>
                    </a:lnTo>
                    <a:lnTo>
                      <a:pt x="2643" y="1149"/>
                    </a:lnTo>
                    <a:lnTo>
                      <a:pt x="2616" y="1170"/>
                    </a:lnTo>
                    <a:lnTo>
                      <a:pt x="2583" y="1187"/>
                    </a:lnTo>
                    <a:lnTo>
                      <a:pt x="2545" y="1208"/>
                    </a:lnTo>
                    <a:lnTo>
                      <a:pt x="2502" y="1225"/>
                    </a:lnTo>
                    <a:lnTo>
                      <a:pt x="2448" y="1241"/>
                    </a:lnTo>
                    <a:lnTo>
                      <a:pt x="2388" y="1257"/>
                    </a:lnTo>
                    <a:lnTo>
                      <a:pt x="2328" y="1274"/>
                    </a:lnTo>
                    <a:lnTo>
                      <a:pt x="2258" y="1290"/>
                    </a:lnTo>
                    <a:lnTo>
                      <a:pt x="2106" y="1328"/>
                    </a:lnTo>
                    <a:lnTo>
                      <a:pt x="1932" y="1372"/>
                    </a:lnTo>
                    <a:lnTo>
                      <a:pt x="1742" y="1421"/>
                    </a:lnTo>
                    <a:lnTo>
                      <a:pt x="1531" y="1475"/>
                    </a:lnTo>
                    <a:lnTo>
                      <a:pt x="1308" y="1540"/>
                    </a:lnTo>
                    <a:lnTo>
                      <a:pt x="1069" y="1617"/>
                    </a:lnTo>
                    <a:lnTo>
                      <a:pt x="820" y="1709"/>
                    </a:lnTo>
                    <a:lnTo>
                      <a:pt x="554" y="1818"/>
                    </a:lnTo>
                    <a:lnTo>
                      <a:pt x="282" y="1943"/>
                    </a:lnTo>
                    <a:lnTo>
                      <a:pt x="0" y="2085"/>
                    </a:lnTo>
                    <a:lnTo>
                      <a:pt x="152" y="2085"/>
                    </a:lnTo>
                    <a:lnTo>
                      <a:pt x="244" y="2074"/>
                    </a:lnTo>
                    <a:lnTo>
                      <a:pt x="386" y="1992"/>
                    </a:lnTo>
                    <a:lnTo>
                      <a:pt x="537" y="1910"/>
                    </a:lnTo>
                    <a:lnTo>
                      <a:pt x="700" y="1834"/>
                    </a:lnTo>
                    <a:lnTo>
                      <a:pt x="879" y="1763"/>
                    </a:lnTo>
                    <a:lnTo>
                      <a:pt x="1064" y="1693"/>
                    </a:lnTo>
                    <a:lnTo>
                      <a:pt x="1259" y="1622"/>
                    </a:lnTo>
                    <a:lnTo>
                      <a:pt x="1661" y="1497"/>
                    </a:lnTo>
                    <a:lnTo>
                      <a:pt x="1748" y="1470"/>
                    </a:lnTo>
                    <a:lnTo>
                      <a:pt x="1845" y="1442"/>
                    </a:lnTo>
                    <a:lnTo>
                      <a:pt x="2046" y="1393"/>
                    </a:lnTo>
                    <a:lnTo>
                      <a:pt x="2252" y="1339"/>
                    </a:lnTo>
                    <a:lnTo>
                      <a:pt x="2458" y="1285"/>
                    </a:lnTo>
                    <a:lnTo>
                      <a:pt x="2551" y="1263"/>
                    </a:lnTo>
                    <a:lnTo>
                      <a:pt x="2643" y="1236"/>
                    </a:lnTo>
                    <a:lnTo>
                      <a:pt x="2730" y="1214"/>
                    </a:lnTo>
                    <a:lnTo>
                      <a:pt x="2806" y="1192"/>
                    </a:lnTo>
                    <a:lnTo>
                      <a:pt x="2876" y="1170"/>
                    </a:lnTo>
                    <a:lnTo>
                      <a:pt x="2931" y="1149"/>
                    </a:lnTo>
                    <a:lnTo>
                      <a:pt x="2974" y="1132"/>
                    </a:lnTo>
                    <a:lnTo>
                      <a:pt x="3007" y="1116"/>
                    </a:lnTo>
                    <a:lnTo>
                      <a:pt x="3007" y="871"/>
                    </a:lnTo>
                    <a:lnTo>
                      <a:pt x="2941" y="860"/>
                    </a:lnTo>
                    <a:lnTo>
                      <a:pt x="2860" y="844"/>
                    </a:lnTo>
                    <a:lnTo>
                      <a:pt x="2773" y="827"/>
                    </a:lnTo>
                    <a:lnTo>
                      <a:pt x="2670" y="806"/>
                    </a:lnTo>
                    <a:lnTo>
                      <a:pt x="2567" y="784"/>
                    </a:lnTo>
                    <a:lnTo>
                      <a:pt x="2458" y="757"/>
                    </a:lnTo>
                    <a:lnTo>
                      <a:pt x="2241" y="702"/>
                    </a:lnTo>
                    <a:lnTo>
                      <a:pt x="2138" y="670"/>
                    </a:lnTo>
                    <a:lnTo>
                      <a:pt x="2046" y="637"/>
                    </a:lnTo>
                    <a:lnTo>
                      <a:pt x="1959" y="604"/>
                    </a:lnTo>
                    <a:lnTo>
                      <a:pt x="1883" y="566"/>
                    </a:lnTo>
                    <a:lnTo>
                      <a:pt x="1824" y="534"/>
                    </a:lnTo>
                    <a:lnTo>
                      <a:pt x="1780" y="495"/>
                    </a:lnTo>
                    <a:lnTo>
                      <a:pt x="1769" y="474"/>
                    </a:lnTo>
                    <a:lnTo>
                      <a:pt x="1758" y="457"/>
                    </a:lnTo>
                    <a:lnTo>
                      <a:pt x="1753" y="436"/>
                    </a:lnTo>
                    <a:lnTo>
                      <a:pt x="1758" y="419"/>
                    </a:lnTo>
                    <a:lnTo>
                      <a:pt x="1780" y="381"/>
                    </a:lnTo>
                    <a:lnTo>
                      <a:pt x="1813" y="343"/>
                    </a:lnTo>
                    <a:lnTo>
                      <a:pt x="1862" y="316"/>
                    </a:lnTo>
                    <a:lnTo>
                      <a:pt x="1921" y="289"/>
                    </a:lnTo>
                    <a:lnTo>
                      <a:pt x="1986" y="267"/>
                    </a:lnTo>
                    <a:lnTo>
                      <a:pt x="2062" y="245"/>
                    </a:lnTo>
                    <a:lnTo>
                      <a:pt x="2149" y="229"/>
                    </a:lnTo>
                    <a:lnTo>
                      <a:pt x="2236" y="213"/>
                    </a:lnTo>
                    <a:lnTo>
                      <a:pt x="2431" y="180"/>
                    </a:lnTo>
                    <a:lnTo>
                      <a:pt x="2627" y="158"/>
                    </a:lnTo>
                    <a:lnTo>
                      <a:pt x="2827" y="125"/>
                    </a:lnTo>
                    <a:lnTo>
                      <a:pt x="2920" y="109"/>
                    </a:lnTo>
                    <a:lnTo>
                      <a:pt x="3007" y="87"/>
                    </a:lnTo>
                    <a:lnTo>
                      <a:pt x="3007" y="0"/>
                    </a:lnTo>
                    <a:lnTo>
                      <a:pt x="2909" y="22"/>
                    </a:lnTo>
                    <a:lnTo>
                      <a:pt x="2795" y="44"/>
                    </a:lnTo>
                    <a:lnTo>
                      <a:pt x="2676" y="66"/>
                    </a:lnTo>
                    <a:lnTo>
                      <a:pt x="2551" y="82"/>
                    </a:lnTo>
                    <a:lnTo>
                      <a:pt x="2285" y="120"/>
                    </a:lnTo>
                    <a:lnTo>
                      <a:pt x="2155" y="136"/>
                    </a:lnTo>
                    <a:lnTo>
                      <a:pt x="2030" y="158"/>
                    </a:lnTo>
                    <a:lnTo>
                      <a:pt x="1905" y="174"/>
                    </a:lnTo>
                    <a:lnTo>
                      <a:pt x="1791" y="202"/>
                    </a:lnTo>
                    <a:lnTo>
                      <a:pt x="1688" y="229"/>
                    </a:lnTo>
                    <a:lnTo>
                      <a:pt x="1601" y="261"/>
                    </a:lnTo>
                    <a:lnTo>
                      <a:pt x="1525" y="300"/>
                    </a:lnTo>
                    <a:lnTo>
                      <a:pt x="1471" y="338"/>
                    </a:lnTo>
                    <a:lnTo>
                      <a:pt x="1455" y="359"/>
                    </a:lnTo>
                    <a:lnTo>
                      <a:pt x="1438" y="387"/>
                    </a:lnTo>
                    <a:lnTo>
                      <a:pt x="1427" y="414"/>
                    </a:lnTo>
                    <a:lnTo>
                      <a:pt x="1427" y="441"/>
                    </a:lnTo>
                    <a:lnTo>
                      <a:pt x="1427" y="441"/>
                    </a:lnTo>
                    <a:close/>
                  </a:path>
                </a:pathLst>
              </a:custGeom>
              <a:solidFill>
                <a:schemeClr val="bg1"/>
              </a:solidFill>
              <a:ln w="9525">
                <a:noFill/>
                <a:round/>
                <a:headEnd/>
                <a:tailEnd/>
              </a:ln>
            </p:spPr>
            <p:txBody>
              <a:bodyPr/>
              <a:lstStyle/>
              <a:p>
                <a:pPr eaLnBrk="0" fontAlgn="base" hangingPunct="0">
                  <a:spcBef>
                    <a:spcPct val="0"/>
                  </a:spcBef>
                  <a:spcAft>
                    <a:spcPct val="0"/>
                  </a:spcAft>
                  <a:defRPr/>
                </a:pPr>
                <a:endParaRPr lang="en-US" sz="1800">
                  <a:solidFill>
                    <a:srgbClr val="FFFFFF"/>
                  </a:solidFill>
                </a:endParaRPr>
              </a:p>
            </p:txBody>
          </p:sp>
          <p:sp>
            <p:nvSpPr>
              <p:cNvPr id="13" name="Freeform 10"/>
              <p:cNvSpPr>
                <a:spLocks/>
              </p:cNvSpPr>
              <p:nvPr/>
            </p:nvSpPr>
            <p:spPr bwMode="hidden">
              <a:xfrm>
                <a:off x="4501" y="2317"/>
                <a:ext cx="1248" cy="539"/>
              </a:xfrm>
              <a:custGeom>
                <a:avLst/>
                <a:gdLst/>
                <a:ahLst/>
                <a:cxnLst>
                  <a:cxn ang="0">
                    <a:pos x="0" y="332"/>
                  </a:cxn>
                  <a:cxn ang="0">
                    <a:pos x="0" y="360"/>
                  </a:cxn>
                  <a:cxn ang="0">
                    <a:pos x="5" y="387"/>
                  </a:cxn>
                  <a:cxn ang="0">
                    <a:pos x="27" y="414"/>
                  </a:cxn>
                  <a:cxn ang="0">
                    <a:pos x="54" y="436"/>
                  </a:cxn>
                  <a:cxn ang="0">
                    <a:pos x="92" y="463"/>
                  </a:cxn>
                  <a:cxn ang="0">
                    <a:pos x="141" y="490"/>
                  </a:cxn>
                  <a:cxn ang="0">
                    <a:pos x="195" y="512"/>
                  </a:cxn>
                  <a:cxn ang="0">
                    <a:pos x="255" y="539"/>
                  </a:cxn>
                  <a:cxn ang="0">
                    <a:pos x="212" y="517"/>
                  </a:cxn>
                  <a:cxn ang="0">
                    <a:pos x="179" y="490"/>
                  </a:cxn>
                  <a:cxn ang="0">
                    <a:pos x="157" y="468"/>
                  </a:cxn>
                  <a:cxn ang="0">
                    <a:pos x="141" y="447"/>
                  </a:cxn>
                  <a:cxn ang="0">
                    <a:pos x="136" y="425"/>
                  </a:cxn>
                  <a:cxn ang="0">
                    <a:pos x="136" y="403"/>
                  </a:cxn>
                  <a:cxn ang="0">
                    <a:pos x="141" y="381"/>
                  </a:cxn>
                  <a:cxn ang="0">
                    <a:pos x="157" y="365"/>
                  </a:cxn>
                  <a:cxn ang="0">
                    <a:pos x="179" y="343"/>
                  </a:cxn>
                  <a:cxn ang="0">
                    <a:pos x="201" y="327"/>
                  </a:cxn>
                  <a:cxn ang="0">
                    <a:pos x="266" y="294"/>
                  </a:cxn>
                  <a:cxn ang="0">
                    <a:pos x="353" y="262"/>
                  </a:cxn>
                  <a:cxn ang="0">
                    <a:pos x="445" y="234"/>
                  </a:cxn>
                  <a:cxn ang="0">
                    <a:pos x="554" y="213"/>
                  </a:cxn>
                  <a:cxn ang="0">
                    <a:pos x="662" y="191"/>
                  </a:cxn>
                  <a:cxn ang="0">
                    <a:pos x="890" y="153"/>
                  </a:cxn>
                  <a:cxn ang="0">
                    <a:pos x="993" y="136"/>
                  </a:cxn>
                  <a:cxn ang="0">
                    <a:pos x="1091" y="120"/>
                  </a:cxn>
                  <a:cxn ang="0">
                    <a:pos x="1178" y="115"/>
                  </a:cxn>
                  <a:cxn ang="0">
                    <a:pos x="1248" y="104"/>
                  </a:cxn>
                  <a:cxn ang="0">
                    <a:pos x="1248" y="0"/>
                  </a:cxn>
                  <a:cxn ang="0">
                    <a:pos x="1161" y="22"/>
                  </a:cxn>
                  <a:cxn ang="0">
                    <a:pos x="1069" y="38"/>
                  </a:cxn>
                  <a:cxn ang="0">
                    <a:pos x="874" y="71"/>
                  </a:cxn>
                  <a:cxn ang="0">
                    <a:pos x="673" y="93"/>
                  </a:cxn>
                  <a:cxn ang="0">
                    <a:pos x="483" y="126"/>
                  </a:cxn>
                  <a:cxn ang="0">
                    <a:pos x="391" y="142"/>
                  </a:cxn>
                  <a:cxn ang="0">
                    <a:pos x="309" y="158"/>
                  </a:cxn>
                  <a:cxn ang="0">
                    <a:pos x="228" y="180"/>
                  </a:cxn>
                  <a:cxn ang="0">
                    <a:pos x="163" y="202"/>
                  </a:cxn>
                  <a:cxn ang="0">
                    <a:pos x="103" y="229"/>
                  </a:cxn>
                  <a:cxn ang="0">
                    <a:pos x="54" y="256"/>
                  </a:cxn>
                  <a:cxn ang="0">
                    <a:pos x="22" y="294"/>
                  </a:cxn>
                  <a:cxn ang="0">
                    <a:pos x="0" y="332"/>
                  </a:cxn>
                  <a:cxn ang="0">
                    <a:pos x="0" y="332"/>
                  </a:cxn>
                </a:cxnLst>
                <a:rect l="0" t="0" r="r" b="b"/>
                <a:pathLst>
                  <a:path w="1248" h="539">
                    <a:moveTo>
                      <a:pt x="0" y="332"/>
                    </a:moveTo>
                    <a:lnTo>
                      <a:pt x="0" y="360"/>
                    </a:lnTo>
                    <a:lnTo>
                      <a:pt x="5" y="387"/>
                    </a:lnTo>
                    <a:lnTo>
                      <a:pt x="27" y="414"/>
                    </a:lnTo>
                    <a:lnTo>
                      <a:pt x="54" y="436"/>
                    </a:lnTo>
                    <a:lnTo>
                      <a:pt x="92" y="463"/>
                    </a:lnTo>
                    <a:lnTo>
                      <a:pt x="141" y="490"/>
                    </a:lnTo>
                    <a:lnTo>
                      <a:pt x="195" y="512"/>
                    </a:lnTo>
                    <a:lnTo>
                      <a:pt x="255" y="539"/>
                    </a:lnTo>
                    <a:lnTo>
                      <a:pt x="212" y="517"/>
                    </a:lnTo>
                    <a:lnTo>
                      <a:pt x="179" y="490"/>
                    </a:lnTo>
                    <a:lnTo>
                      <a:pt x="157" y="468"/>
                    </a:lnTo>
                    <a:lnTo>
                      <a:pt x="141" y="447"/>
                    </a:lnTo>
                    <a:lnTo>
                      <a:pt x="136" y="425"/>
                    </a:lnTo>
                    <a:lnTo>
                      <a:pt x="136" y="403"/>
                    </a:lnTo>
                    <a:lnTo>
                      <a:pt x="141" y="381"/>
                    </a:lnTo>
                    <a:lnTo>
                      <a:pt x="157" y="365"/>
                    </a:lnTo>
                    <a:lnTo>
                      <a:pt x="179" y="343"/>
                    </a:lnTo>
                    <a:lnTo>
                      <a:pt x="201" y="327"/>
                    </a:lnTo>
                    <a:lnTo>
                      <a:pt x="266" y="294"/>
                    </a:lnTo>
                    <a:lnTo>
                      <a:pt x="353" y="262"/>
                    </a:lnTo>
                    <a:lnTo>
                      <a:pt x="445" y="234"/>
                    </a:lnTo>
                    <a:lnTo>
                      <a:pt x="554" y="213"/>
                    </a:lnTo>
                    <a:lnTo>
                      <a:pt x="662" y="191"/>
                    </a:lnTo>
                    <a:lnTo>
                      <a:pt x="890" y="153"/>
                    </a:lnTo>
                    <a:lnTo>
                      <a:pt x="993" y="136"/>
                    </a:lnTo>
                    <a:lnTo>
                      <a:pt x="1091" y="120"/>
                    </a:lnTo>
                    <a:lnTo>
                      <a:pt x="1178" y="115"/>
                    </a:lnTo>
                    <a:lnTo>
                      <a:pt x="1248" y="104"/>
                    </a:lnTo>
                    <a:lnTo>
                      <a:pt x="1248" y="0"/>
                    </a:lnTo>
                    <a:lnTo>
                      <a:pt x="1161" y="22"/>
                    </a:lnTo>
                    <a:lnTo>
                      <a:pt x="1069" y="38"/>
                    </a:lnTo>
                    <a:lnTo>
                      <a:pt x="874" y="71"/>
                    </a:lnTo>
                    <a:lnTo>
                      <a:pt x="673" y="93"/>
                    </a:lnTo>
                    <a:lnTo>
                      <a:pt x="483" y="126"/>
                    </a:lnTo>
                    <a:lnTo>
                      <a:pt x="391" y="142"/>
                    </a:lnTo>
                    <a:lnTo>
                      <a:pt x="309" y="158"/>
                    </a:lnTo>
                    <a:lnTo>
                      <a:pt x="228" y="180"/>
                    </a:lnTo>
                    <a:lnTo>
                      <a:pt x="163" y="202"/>
                    </a:lnTo>
                    <a:lnTo>
                      <a:pt x="103" y="229"/>
                    </a:lnTo>
                    <a:lnTo>
                      <a:pt x="54" y="256"/>
                    </a:lnTo>
                    <a:lnTo>
                      <a:pt x="22" y="294"/>
                    </a:lnTo>
                    <a:lnTo>
                      <a:pt x="0" y="332"/>
                    </a:lnTo>
                    <a:lnTo>
                      <a:pt x="0" y="332"/>
                    </a:lnTo>
                    <a:close/>
                  </a:path>
                </a:pathLst>
              </a:custGeom>
              <a:gradFill rotWithShape="0">
                <a:gsLst>
                  <a:gs pos="0">
                    <a:schemeClr val="bg1">
                      <a:gamma/>
                      <a:shade val="87843"/>
                      <a:invGamma/>
                    </a:schemeClr>
                  </a:gs>
                  <a:gs pos="100000">
                    <a:schemeClr val="bg1"/>
                  </a:gs>
                </a:gsLst>
                <a:lin ang="2700000" scaled="1"/>
              </a:gradFill>
              <a:ln w="9525">
                <a:noFill/>
                <a:round/>
                <a:headEnd/>
                <a:tailEnd/>
              </a:ln>
            </p:spPr>
            <p:txBody>
              <a:bodyPr/>
              <a:lstStyle/>
              <a:p>
                <a:pPr eaLnBrk="0" fontAlgn="base" hangingPunct="0">
                  <a:spcBef>
                    <a:spcPct val="0"/>
                  </a:spcBef>
                  <a:spcAft>
                    <a:spcPct val="0"/>
                  </a:spcAft>
                  <a:defRPr/>
                </a:pPr>
                <a:endParaRPr lang="en-US" sz="1800">
                  <a:solidFill>
                    <a:srgbClr val="FFFFFF"/>
                  </a:solidFill>
                </a:endParaRPr>
              </a:p>
            </p:txBody>
          </p:sp>
        </p:grpSp>
        <p:sp>
          <p:nvSpPr>
            <p:cNvPr id="6" name="Freeform 11"/>
            <p:cNvSpPr>
              <a:spLocks/>
            </p:cNvSpPr>
            <p:nvPr/>
          </p:nvSpPr>
          <p:spPr bwMode="hidden">
            <a:xfrm>
              <a:off x="3322" y="1341"/>
              <a:ext cx="1825" cy="1537"/>
            </a:xfrm>
            <a:custGeom>
              <a:avLst/>
              <a:gdLst/>
              <a:ahLst/>
              <a:cxnLst>
                <a:cxn ang="0">
                  <a:pos x="982" y="1061"/>
                </a:cxn>
                <a:cxn ang="0">
                  <a:pos x="1357" y="1012"/>
                </a:cxn>
                <a:cxn ang="0">
                  <a:pos x="1666" y="957"/>
                </a:cxn>
                <a:cxn ang="0">
                  <a:pos x="1916" y="897"/>
                </a:cxn>
                <a:cxn ang="0">
                  <a:pos x="2100" y="832"/>
                </a:cxn>
                <a:cxn ang="0">
                  <a:pos x="2220" y="756"/>
                </a:cxn>
                <a:cxn ang="0">
                  <a:pos x="2285" y="669"/>
                </a:cxn>
                <a:cxn ang="0">
                  <a:pos x="2290" y="560"/>
                </a:cxn>
                <a:cxn ang="0">
                  <a:pos x="2241" y="457"/>
                </a:cxn>
                <a:cxn ang="0">
                  <a:pos x="2144" y="364"/>
                </a:cxn>
                <a:cxn ang="0">
                  <a:pos x="2008" y="277"/>
                </a:cxn>
                <a:cxn ang="0">
                  <a:pos x="1769" y="157"/>
                </a:cxn>
                <a:cxn ang="0">
                  <a:pos x="1612" y="92"/>
                </a:cxn>
                <a:cxn ang="0">
                  <a:pos x="1476" y="43"/>
                </a:cxn>
                <a:cxn ang="0">
                  <a:pos x="1384" y="10"/>
                </a:cxn>
                <a:cxn ang="0">
                  <a:pos x="1346" y="0"/>
                </a:cxn>
                <a:cxn ang="0">
                  <a:pos x="1655" y="119"/>
                </a:cxn>
                <a:cxn ang="0">
                  <a:pos x="1948" y="255"/>
                </a:cxn>
                <a:cxn ang="0">
                  <a:pos x="2068" y="326"/>
                </a:cxn>
                <a:cxn ang="0">
                  <a:pos x="2171" y="402"/>
                </a:cxn>
                <a:cxn ang="0">
                  <a:pos x="2236" y="478"/>
                </a:cxn>
                <a:cxn ang="0">
                  <a:pos x="2263" y="560"/>
                </a:cxn>
                <a:cxn ang="0">
                  <a:pos x="2241" y="636"/>
                </a:cxn>
                <a:cxn ang="0">
                  <a:pos x="2171" y="702"/>
                </a:cxn>
                <a:cxn ang="0">
                  <a:pos x="2062" y="756"/>
                </a:cxn>
                <a:cxn ang="0">
                  <a:pos x="1921" y="800"/>
                </a:cxn>
                <a:cxn ang="0">
                  <a:pos x="1748" y="843"/>
                </a:cxn>
                <a:cxn ang="0">
                  <a:pos x="1351" y="908"/>
                </a:cxn>
                <a:cxn ang="0">
                  <a:pos x="923" y="968"/>
                </a:cxn>
                <a:cxn ang="0">
                  <a:pos x="521" y="1028"/>
                </a:cxn>
                <a:cxn ang="0">
                  <a:pos x="353" y="1066"/>
                </a:cxn>
                <a:cxn ang="0">
                  <a:pos x="206" y="1104"/>
                </a:cxn>
                <a:cxn ang="0">
                  <a:pos x="92" y="1148"/>
                </a:cxn>
                <a:cxn ang="0">
                  <a:pos x="22" y="1202"/>
                </a:cxn>
                <a:cxn ang="0">
                  <a:pos x="0" y="1262"/>
                </a:cxn>
                <a:cxn ang="0">
                  <a:pos x="27" y="1327"/>
                </a:cxn>
                <a:cxn ang="0">
                  <a:pos x="98" y="1382"/>
                </a:cxn>
                <a:cxn ang="0">
                  <a:pos x="196" y="1425"/>
                </a:cxn>
                <a:cxn ang="0">
                  <a:pos x="326" y="1469"/>
                </a:cxn>
                <a:cxn ang="0">
                  <a:pos x="217" y="1414"/>
                </a:cxn>
                <a:cxn ang="0">
                  <a:pos x="147" y="1360"/>
                </a:cxn>
                <a:cxn ang="0">
                  <a:pos x="120" y="1306"/>
                </a:cxn>
                <a:cxn ang="0">
                  <a:pos x="141" y="1257"/>
                </a:cxn>
                <a:cxn ang="0">
                  <a:pos x="212" y="1208"/>
                </a:cxn>
                <a:cxn ang="0">
                  <a:pos x="342" y="1164"/>
                </a:cxn>
                <a:cxn ang="0">
                  <a:pos x="527" y="1121"/>
                </a:cxn>
                <a:cxn ang="0">
                  <a:pos x="771" y="1088"/>
                </a:cxn>
              </a:cxnLst>
              <a:rect l="0" t="0" r="r" b="b"/>
              <a:pathLst>
                <a:path w="2296" h="1469">
                  <a:moveTo>
                    <a:pt x="771" y="1088"/>
                  </a:moveTo>
                  <a:lnTo>
                    <a:pt x="982" y="1061"/>
                  </a:lnTo>
                  <a:lnTo>
                    <a:pt x="1178" y="1034"/>
                  </a:lnTo>
                  <a:lnTo>
                    <a:pt x="1357" y="1012"/>
                  </a:lnTo>
                  <a:lnTo>
                    <a:pt x="1520" y="985"/>
                  </a:lnTo>
                  <a:lnTo>
                    <a:pt x="1666" y="957"/>
                  </a:lnTo>
                  <a:lnTo>
                    <a:pt x="1796" y="930"/>
                  </a:lnTo>
                  <a:lnTo>
                    <a:pt x="1916" y="897"/>
                  </a:lnTo>
                  <a:lnTo>
                    <a:pt x="2013" y="870"/>
                  </a:lnTo>
                  <a:lnTo>
                    <a:pt x="2100" y="832"/>
                  </a:lnTo>
                  <a:lnTo>
                    <a:pt x="2171" y="800"/>
                  </a:lnTo>
                  <a:lnTo>
                    <a:pt x="2220" y="756"/>
                  </a:lnTo>
                  <a:lnTo>
                    <a:pt x="2263" y="712"/>
                  </a:lnTo>
                  <a:lnTo>
                    <a:pt x="2285" y="669"/>
                  </a:lnTo>
                  <a:lnTo>
                    <a:pt x="2296" y="614"/>
                  </a:lnTo>
                  <a:lnTo>
                    <a:pt x="2290" y="560"/>
                  </a:lnTo>
                  <a:lnTo>
                    <a:pt x="2269" y="500"/>
                  </a:lnTo>
                  <a:lnTo>
                    <a:pt x="2241" y="457"/>
                  </a:lnTo>
                  <a:lnTo>
                    <a:pt x="2198" y="408"/>
                  </a:lnTo>
                  <a:lnTo>
                    <a:pt x="2144" y="364"/>
                  </a:lnTo>
                  <a:lnTo>
                    <a:pt x="2079" y="321"/>
                  </a:lnTo>
                  <a:lnTo>
                    <a:pt x="2008" y="277"/>
                  </a:lnTo>
                  <a:lnTo>
                    <a:pt x="1927" y="234"/>
                  </a:lnTo>
                  <a:lnTo>
                    <a:pt x="1769" y="157"/>
                  </a:lnTo>
                  <a:lnTo>
                    <a:pt x="1688" y="125"/>
                  </a:lnTo>
                  <a:lnTo>
                    <a:pt x="1612" y="92"/>
                  </a:lnTo>
                  <a:lnTo>
                    <a:pt x="1536" y="65"/>
                  </a:lnTo>
                  <a:lnTo>
                    <a:pt x="1476" y="43"/>
                  </a:lnTo>
                  <a:lnTo>
                    <a:pt x="1422" y="27"/>
                  </a:lnTo>
                  <a:lnTo>
                    <a:pt x="1384" y="10"/>
                  </a:lnTo>
                  <a:lnTo>
                    <a:pt x="1357" y="5"/>
                  </a:lnTo>
                  <a:lnTo>
                    <a:pt x="1346" y="0"/>
                  </a:lnTo>
                  <a:lnTo>
                    <a:pt x="1498" y="54"/>
                  </a:lnTo>
                  <a:lnTo>
                    <a:pt x="1655" y="119"/>
                  </a:lnTo>
                  <a:lnTo>
                    <a:pt x="1807" y="185"/>
                  </a:lnTo>
                  <a:lnTo>
                    <a:pt x="1948" y="255"/>
                  </a:lnTo>
                  <a:lnTo>
                    <a:pt x="2013" y="288"/>
                  </a:lnTo>
                  <a:lnTo>
                    <a:pt x="2068" y="326"/>
                  </a:lnTo>
                  <a:lnTo>
                    <a:pt x="2122" y="364"/>
                  </a:lnTo>
                  <a:lnTo>
                    <a:pt x="2171" y="402"/>
                  </a:lnTo>
                  <a:lnTo>
                    <a:pt x="2209" y="440"/>
                  </a:lnTo>
                  <a:lnTo>
                    <a:pt x="2236" y="478"/>
                  </a:lnTo>
                  <a:lnTo>
                    <a:pt x="2252" y="522"/>
                  </a:lnTo>
                  <a:lnTo>
                    <a:pt x="2263" y="560"/>
                  </a:lnTo>
                  <a:lnTo>
                    <a:pt x="2258" y="598"/>
                  </a:lnTo>
                  <a:lnTo>
                    <a:pt x="2241" y="636"/>
                  </a:lnTo>
                  <a:lnTo>
                    <a:pt x="2214" y="669"/>
                  </a:lnTo>
                  <a:lnTo>
                    <a:pt x="2171" y="702"/>
                  </a:lnTo>
                  <a:lnTo>
                    <a:pt x="2122" y="729"/>
                  </a:lnTo>
                  <a:lnTo>
                    <a:pt x="2062" y="756"/>
                  </a:lnTo>
                  <a:lnTo>
                    <a:pt x="1997" y="778"/>
                  </a:lnTo>
                  <a:lnTo>
                    <a:pt x="1921" y="800"/>
                  </a:lnTo>
                  <a:lnTo>
                    <a:pt x="1834" y="821"/>
                  </a:lnTo>
                  <a:lnTo>
                    <a:pt x="1748" y="843"/>
                  </a:lnTo>
                  <a:lnTo>
                    <a:pt x="1552" y="876"/>
                  </a:lnTo>
                  <a:lnTo>
                    <a:pt x="1351" y="908"/>
                  </a:lnTo>
                  <a:lnTo>
                    <a:pt x="1134" y="941"/>
                  </a:lnTo>
                  <a:lnTo>
                    <a:pt x="923" y="968"/>
                  </a:lnTo>
                  <a:lnTo>
                    <a:pt x="716" y="995"/>
                  </a:lnTo>
                  <a:lnTo>
                    <a:pt x="521" y="1028"/>
                  </a:lnTo>
                  <a:lnTo>
                    <a:pt x="434" y="1044"/>
                  </a:lnTo>
                  <a:lnTo>
                    <a:pt x="353" y="1066"/>
                  </a:lnTo>
                  <a:lnTo>
                    <a:pt x="277" y="1082"/>
                  </a:lnTo>
                  <a:lnTo>
                    <a:pt x="206" y="1104"/>
                  </a:lnTo>
                  <a:lnTo>
                    <a:pt x="147" y="1126"/>
                  </a:lnTo>
                  <a:lnTo>
                    <a:pt x="92" y="1148"/>
                  </a:lnTo>
                  <a:lnTo>
                    <a:pt x="54" y="1175"/>
                  </a:lnTo>
                  <a:lnTo>
                    <a:pt x="22" y="1202"/>
                  </a:lnTo>
                  <a:lnTo>
                    <a:pt x="6" y="1229"/>
                  </a:lnTo>
                  <a:lnTo>
                    <a:pt x="0" y="1262"/>
                  </a:lnTo>
                  <a:lnTo>
                    <a:pt x="11" y="1295"/>
                  </a:lnTo>
                  <a:lnTo>
                    <a:pt x="27" y="1327"/>
                  </a:lnTo>
                  <a:lnTo>
                    <a:pt x="54" y="1355"/>
                  </a:lnTo>
                  <a:lnTo>
                    <a:pt x="98" y="1382"/>
                  </a:lnTo>
                  <a:lnTo>
                    <a:pt x="141" y="1404"/>
                  </a:lnTo>
                  <a:lnTo>
                    <a:pt x="196" y="1425"/>
                  </a:lnTo>
                  <a:lnTo>
                    <a:pt x="261" y="1447"/>
                  </a:lnTo>
                  <a:lnTo>
                    <a:pt x="326" y="1469"/>
                  </a:lnTo>
                  <a:lnTo>
                    <a:pt x="266" y="1442"/>
                  </a:lnTo>
                  <a:lnTo>
                    <a:pt x="217" y="1414"/>
                  </a:lnTo>
                  <a:lnTo>
                    <a:pt x="174" y="1387"/>
                  </a:lnTo>
                  <a:lnTo>
                    <a:pt x="147" y="1360"/>
                  </a:lnTo>
                  <a:lnTo>
                    <a:pt x="125" y="1333"/>
                  </a:lnTo>
                  <a:lnTo>
                    <a:pt x="120" y="1306"/>
                  </a:lnTo>
                  <a:lnTo>
                    <a:pt x="125" y="1278"/>
                  </a:lnTo>
                  <a:lnTo>
                    <a:pt x="141" y="1257"/>
                  </a:lnTo>
                  <a:lnTo>
                    <a:pt x="174" y="1229"/>
                  </a:lnTo>
                  <a:lnTo>
                    <a:pt x="212" y="1208"/>
                  </a:lnTo>
                  <a:lnTo>
                    <a:pt x="272" y="1186"/>
                  </a:lnTo>
                  <a:lnTo>
                    <a:pt x="342" y="1164"/>
                  </a:lnTo>
                  <a:lnTo>
                    <a:pt x="423" y="1142"/>
                  </a:lnTo>
                  <a:lnTo>
                    <a:pt x="527" y="1121"/>
                  </a:lnTo>
                  <a:lnTo>
                    <a:pt x="641" y="1104"/>
                  </a:lnTo>
                  <a:lnTo>
                    <a:pt x="771" y="1088"/>
                  </a:lnTo>
                  <a:lnTo>
                    <a:pt x="771" y="1088"/>
                  </a:lnTo>
                  <a:close/>
                </a:path>
              </a:pathLst>
            </a:custGeom>
            <a:gradFill rotWithShape="0">
              <a:gsLst>
                <a:gs pos="0">
                  <a:schemeClr val="bg1">
                    <a:gamma/>
                    <a:shade val="84706"/>
                    <a:invGamma/>
                  </a:schemeClr>
                </a:gs>
                <a:gs pos="100000">
                  <a:schemeClr val="bg1"/>
                </a:gs>
              </a:gsLst>
              <a:lin ang="2700000" scaled="1"/>
            </a:gradFill>
            <a:ln w="9525">
              <a:noFill/>
              <a:round/>
              <a:headEnd/>
              <a:tailEnd/>
            </a:ln>
          </p:spPr>
          <p:txBody>
            <a:bodyPr/>
            <a:lstStyle/>
            <a:p>
              <a:pPr eaLnBrk="0" fontAlgn="base" hangingPunct="0">
                <a:spcBef>
                  <a:spcPct val="0"/>
                </a:spcBef>
                <a:spcAft>
                  <a:spcPct val="0"/>
                </a:spcAft>
                <a:defRPr/>
              </a:pPr>
              <a:endParaRPr lang="en-US" sz="1800">
                <a:solidFill>
                  <a:srgbClr val="FFFFFF"/>
                </a:solidFill>
              </a:endParaRPr>
            </a:p>
          </p:txBody>
        </p:sp>
        <p:sp>
          <p:nvSpPr>
            <p:cNvPr id="7" name="Freeform 12"/>
            <p:cNvSpPr>
              <a:spLocks/>
            </p:cNvSpPr>
            <p:nvPr/>
          </p:nvSpPr>
          <p:spPr bwMode="hidden">
            <a:xfrm>
              <a:off x="0" y="0"/>
              <a:ext cx="5758" cy="1776"/>
            </a:xfrm>
            <a:custGeom>
              <a:avLst/>
              <a:gdLst/>
              <a:ahLst/>
              <a:cxnLst>
                <a:cxn ang="0">
                  <a:pos x="0" y="0"/>
                </a:cxn>
                <a:cxn ang="0">
                  <a:pos x="0" y="1906"/>
                </a:cxn>
                <a:cxn ang="0">
                  <a:pos x="5740" y="1906"/>
                </a:cxn>
                <a:cxn ang="0">
                  <a:pos x="5740" y="0"/>
                </a:cxn>
                <a:cxn ang="0">
                  <a:pos x="0" y="0"/>
                </a:cxn>
                <a:cxn ang="0">
                  <a:pos x="0" y="0"/>
                </a:cxn>
              </a:cxnLst>
              <a:rect l="0" t="0" r="r" b="b"/>
              <a:pathLst>
                <a:path w="5740" h="1906">
                  <a:moveTo>
                    <a:pt x="0" y="0"/>
                  </a:moveTo>
                  <a:lnTo>
                    <a:pt x="0" y="1906"/>
                  </a:lnTo>
                  <a:lnTo>
                    <a:pt x="5740" y="1906"/>
                  </a:lnTo>
                  <a:lnTo>
                    <a:pt x="5740" y="0"/>
                  </a:lnTo>
                  <a:lnTo>
                    <a:pt x="0" y="0"/>
                  </a:lnTo>
                  <a:lnTo>
                    <a:pt x="0" y="0"/>
                  </a:lnTo>
                  <a:close/>
                </a:path>
              </a:pathLst>
            </a:custGeom>
            <a:gradFill rotWithShape="0">
              <a:gsLst>
                <a:gs pos="0">
                  <a:schemeClr val="bg2"/>
                </a:gs>
                <a:gs pos="100000">
                  <a:schemeClr val="bg1"/>
                </a:gs>
              </a:gsLst>
              <a:lin ang="5400000" scaled="1"/>
            </a:gradFill>
            <a:ln w="9525">
              <a:noFill/>
              <a:round/>
              <a:headEnd/>
              <a:tailEnd/>
            </a:ln>
          </p:spPr>
          <p:txBody>
            <a:bodyPr/>
            <a:lstStyle/>
            <a:p>
              <a:pPr eaLnBrk="0" fontAlgn="base" hangingPunct="0">
                <a:spcBef>
                  <a:spcPct val="0"/>
                </a:spcBef>
                <a:spcAft>
                  <a:spcPct val="0"/>
                </a:spcAft>
                <a:defRPr/>
              </a:pPr>
              <a:endParaRPr lang="en-US" sz="1800">
                <a:solidFill>
                  <a:srgbClr val="FFFFFF"/>
                </a:solidFill>
              </a:endParaRPr>
            </a:p>
          </p:txBody>
        </p:sp>
      </p:grpSp>
      <p:sp>
        <p:nvSpPr>
          <p:cNvPr id="14" name="Text Box 16"/>
          <p:cNvSpPr txBox="1">
            <a:spLocks noChangeArrowheads="1"/>
          </p:cNvSpPr>
          <p:nvPr/>
        </p:nvSpPr>
        <p:spPr bwMode="auto">
          <a:xfrm>
            <a:off x="8305800" y="304802"/>
            <a:ext cx="533400" cy="366713"/>
          </a:xfrm>
          <a:prstGeom prst="rect">
            <a:avLst/>
          </a:prstGeom>
          <a:noFill/>
          <a:ln w="9525">
            <a:noFill/>
            <a:miter lim="800000"/>
            <a:headEnd/>
            <a:tailEnd/>
          </a:ln>
          <a:effectLst/>
        </p:spPr>
        <p:txBody>
          <a:bodyPr>
            <a:spAutoFit/>
          </a:bodyPr>
          <a:lstStyle/>
          <a:p>
            <a:pPr eaLnBrk="0" fontAlgn="base" hangingPunct="0">
              <a:spcBef>
                <a:spcPct val="50000"/>
              </a:spcBef>
              <a:spcAft>
                <a:spcPct val="0"/>
              </a:spcAft>
              <a:defRPr/>
            </a:pPr>
            <a:endParaRPr lang="en-US" sz="1800">
              <a:solidFill>
                <a:srgbClr val="FFFFFF"/>
              </a:solidFill>
            </a:endParaRPr>
          </a:p>
        </p:txBody>
      </p:sp>
      <p:sp>
        <p:nvSpPr>
          <p:cNvPr id="15" name="Text Box 17"/>
          <p:cNvSpPr txBox="1">
            <a:spLocks noChangeArrowheads="1"/>
          </p:cNvSpPr>
          <p:nvPr/>
        </p:nvSpPr>
        <p:spPr bwMode="auto">
          <a:xfrm>
            <a:off x="8686800" y="228604"/>
            <a:ext cx="457200" cy="369332"/>
          </a:xfrm>
          <a:prstGeom prst="rect">
            <a:avLst/>
          </a:prstGeom>
          <a:noFill/>
          <a:ln w="9525">
            <a:noFill/>
            <a:miter lim="800000"/>
            <a:headEnd/>
            <a:tailEnd/>
          </a:ln>
          <a:effectLst/>
        </p:spPr>
        <p:txBody>
          <a:bodyPr>
            <a:spAutoFit/>
          </a:bodyPr>
          <a:lstStyle/>
          <a:p>
            <a:pPr eaLnBrk="0" fontAlgn="base" hangingPunct="0">
              <a:spcBef>
                <a:spcPct val="50000"/>
              </a:spcBef>
              <a:spcAft>
                <a:spcPct val="0"/>
              </a:spcAft>
              <a:defRPr/>
            </a:pPr>
            <a:fld id="{6BF723B7-5516-4332-9CC4-EBB2A16E48AE}" type="slidenum">
              <a:rPr lang="en-US" sz="1800">
                <a:solidFill>
                  <a:srgbClr val="FFFFFF"/>
                </a:solidFill>
              </a:rPr>
              <a:pPr eaLnBrk="0" fontAlgn="base" hangingPunct="0">
                <a:spcBef>
                  <a:spcPct val="50000"/>
                </a:spcBef>
                <a:spcAft>
                  <a:spcPct val="0"/>
                </a:spcAft>
                <a:defRPr/>
              </a:pPr>
              <a:t>‹#›</a:t>
            </a:fld>
            <a:endParaRPr lang="en-US" sz="1800">
              <a:solidFill>
                <a:srgbClr val="FFFFFF"/>
              </a:solidFill>
            </a:endParaRPr>
          </a:p>
        </p:txBody>
      </p:sp>
      <p:graphicFrame>
        <p:nvGraphicFramePr>
          <p:cNvPr id="16" name="Object 18"/>
          <p:cNvGraphicFramePr>
            <a:graphicFrameLocks noChangeAspect="1"/>
          </p:cNvGraphicFramePr>
          <p:nvPr/>
        </p:nvGraphicFramePr>
        <p:xfrm>
          <a:off x="7239000" y="5918200"/>
          <a:ext cx="1905000" cy="939800"/>
        </p:xfrm>
        <a:graphic>
          <a:graphicData uri="http://schemas.openxmlformats.org/presentationml/2006/ole">
            <mc:AlternateContent xmlns:mc="http://schemas.openxmlformats.org/markup-compatibility/2006">
              <mc:Choice xmlns:v="urn:schemas-microsoft-com:vml" Requires="v">
                <p:oleObj spid="_x0000_s2050" name="Bitmap Image" r:id="rId4" imgW="2142857" imgH="1057423" progId="Paint.Picture">
                  <p:embed/>
                </p:oleObj>
              </mc:Choice>
              <mc:Fallback>
                <p:oleObj name="Bitmap Image" r:id="rId4" imgW="2142857" imgH="1057423" progId="Paint.Picture">
                  <p:embed/>
                  <p:pic>
                    <p:nvPicPr>
                      <p:cNvPr id="16" name="Object 1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239000" y="5918200"/>
                        <a:ext cx="1905000" cy="939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7" name="Object 2"/>
          <p:cNvGraphicFramePr>
            <a:graphicFrameLocks noChangeAspect="1"/>
          </p:cNvGraphicFramePr>
          <p:nvPr>
            <p:custDataLst>
              <p:tags r:id="rId2"/>
            </p:custDataLst>
          </p:nvPr>
        </p:nvGraphicFramePr>
        <p:xfrm>
          <a:off x="1589" y="1594"/>
          <a:ext cx="1587" cy="1587"/>
        </p:xfrm>
        <a:graphic>
          <a:graphicData uri="http://schemas.openxmlformats.org/presentationml/2006/ole">
            <mc:AlternateContent xmlns:mc="http://schemas.openxmlformats.org/markup-compatibility/2006">
              <mc:Choice xmlns:v="urn:schemas-microsoft-com:vml" Requires="v">
                <p:oleObj spid="_x0000_s2051" name="think-cell Slide" r:id="rId6" imgW="360" imgH="360" progId="">
                  <p:embed/>
                </p:oleObj>
              </mc:Choice>
              <mc:Fallback>
                <p:oleObj name="think-cell Slide" r:id="rId6" imgW="360" imgH="360" progId="">
                  <p:embed/>
                  <p:pic>
                    <p:nvPicPr>
                      <p:cNvPr id="17" name="Object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9" y="1594"/>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Flowchart: Process 17"/>
          <p:cNvSpPr/>
          <p:nvPr userDrawn="1"/>
        </p:nvSpPr>
        <p:spPr>
          <a:xfrm>
            <a:off x="250825" y="908050"/>
            <a:ext cx="2808288" cy="46038"/>
          </a:xfrm>
          <a:prstGeom prst="flowChartProcess">
            <a:avLst/>
          </a:prstGeom>
          <a:solidFill>
            <a:srgbClr val="9B9B9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GB" sz="1800">
              <a:solidFill>
                <a:srgbClr val="FFFFFF"/>
              </a:solidFill>
            </a:endParaRPr>
          </a:p>
        </p:txBody>
      </p:sp>
      <p:sp>
        <p:nvSpPr>
          <p:cNvPr id="19" name="Flowchart: Process 18"/>
          <p:cNvSpPr/>
          <p:nvPr userDrawn="1"/>
        </p:nvSpPr>
        <p:spPr>
          <a:xfrm>
            <a:off x="2600325" y="908050"/>
            <a:ext cx="1703388" cy="46038"/>
          </a:xfrm>
          <a:prstGeom prst="flowChartProcess">
            <a:avLst/>
          </a:prstGeom>
          <a:solidFill>
            <a:srgbClr val="BDBDB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GB" sz="1800">
              <a:solidFill>
                <a:srgbClr val="FFFFFF"/>
              </a:solidFill>
            </a:endParaRPr>
          </a:p>
        </p:txBody>
      </p:sp>
      <p:sp>
        <p:nvSpPr>
          <p:cNvPr id="20" name="Flowchart: Process 19"/>
          <p:cNvSpPr/>
          <p:nvPr userDrawn="1"/>
        </p:nvSpPr>
        <p:spPr>
          <a:xfrm>
            <a:off x="4303716" y="908050"/>
            <a:ext cx="1703387" cy="46038"/>
          </a:xfrm>
          <a:prstGeom prst="flowChartProcess">
            <a:avLst/>
          </a:prstGeom>
          <a:solidFill>
            <a:srgbClr val="DEDED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endParaRPr lang="en-GB" sz="1800">
              <a:solidFill>
                <a:srgbClr val="FFFFFF"/>
              </a:solidFill>
            </a:endParaRPr>
          </a:p>
        </p:txBody>
      </p:sp>
      <p:sp>
        <p:nvSpPr>
          <p:cNvPr id="21" name="TextBox 20"/>
          <p:cNvSpPr txBox="1"/>
          <p:nvPr userDrawn="1"/>
        </p:nvSpPr>
        <p:spPr>
          <a:xfrm>
            <a:off x="381002" y="6438900"/>
            <a:ext cx="504825" cy="306388"/>
          </a:xfrm>
          <a:prstGeom prst="rect">
            <a:avLst/>
          </a:prstGeom>
          <a:noFill/>
        </p:spPr>
        <p:txBody>
          <a:bodyPr>
            <a:spAutoFit/>
          </a:bodyPr>
          <a:lstStyle/>
          <a:p>
            <a:pPr eaLnBrk="0" fontAlgn="base" hangingPunct="0">
              <a:spcBef>
                <a:spcPct val="0"/>
              </a:spcBef>
              <a:spcAft>
                <a:spcPct val="0"/>
              </a:spcAft>
              <a:defRPr/>
            </a:pPr>
            <a:fld id="{FA6B8996-A95C-4795-B0B0-D75F900294E1}" type="slidenum">
              <a:rPr lang="en-GB" sz="1400">
                <a:solidFill>
                  <a:srgbClr val="FFFFFF">
                    <a:lumMod val="50000"/>
                    <a:lumOff val="50000"/>
                  </a:srgbClr>
                </a:solidFill>
                <a:latin typeface="Arial" panose="020B0604020202020204" pitchFamily="34" charset="0"/>
                <a:cs typeface="Arial" panose="020B0604020202020204" pitchFamily="34" charset="0"/>
              </a:rPr>
              <a:pPr eaLnBrk="0" fontAlgn="base" hangingPunct="0">
                <a:spcBef>
                  <a:spcPct val="0"/>
                </a:spcBef>
                <a:spcAft>
                  <a:spcPct val="0"/>
                </a:spcAft>
                <a:defRPr/>
              </a:pPr>
              <a:t>‹#›</a:t>
            </a:fld>
            <a:endParaRPr lang="en-GB" sz="1800" dirty="0">
              <a:solidFill>
                <a:srgbClr val="FFFFFF">
                  <a:lumMod val="50000"/>
                  <a:lumOff val="50000"/>
                </a:srgbClr>
              </a:solidFill>
              <a:latin typeface="Arial" panose="020B0604020202020204" pitchFamily="34" charset="0"/>
              <a:cs typeface="Arial" panose="020B0604020202020204" pitchFamily="34" charset="0"/>
            </a:endParaRPr>
          </a:p>
        </p:txBody>
      </p:sp>
      <p:sp>
        <p:nvSpPr>
          <p:cNvPr id="3" name="Subtitle 2"/>
          <p:cNvSpPr>
            <a:spLocks noGrp="1"/>
          </p:cNvSpPr>
          <p:nvPr>
            <p:ph type="subTitle" idx="1"/>
          </p:nvPr>
        </p:nvSpPr>
        <p:spPr>
          <a:xfrm>
            <a:off x="251521" y="476672"/>
            <a:ext cx="7416824" cy="360040"/>
          </a:xfrm>
          <a:prstGeom prst="rect">
            <a:avLst/>
          </a:prstGeom>
        </p:spPr>
        <p:txBody>
          <a:bodyPr anchor="b">
            <a:noAutofit/>
          </a:bodyPr>
          <a:lstStyle>
            <a:lvl1pPr marL="0" indent="0" algn="l">
              <a:buNone/>
              <a:defRPr sz="1800" b="1" baseline="0">
                <a:solidFill>
                  <a:schemeClr val="tx1">
                    <a:lumMod val="75000"/>
                    <a:lumOff val="25000"/>
                  </a:schemeClr>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sp>
        <p:nvSpPr>
          <p:cNvPr id="12" name="Text Placeholder 11"/>
          <p:cNvSpPr>
            <a:spLocks noGrp="1"/>
          </p:cNvSpPr>
          <p:nvPr>
            <p:ph type="body" sz="quarter" idx="10"/>
          </p:nvPr>
        </p:nvSpPr>
        <p:spPr>
          <a:xfrm>
            <a:off x="251520" y="1989138"/>
            <a:ext cx="8713788" cy="4320182"/>
          </a:xfrm>
          <a:prstGeom prst="rect">
            <a:avLst/>
          </a:prstGeom>
        </p:spPr>
        <p:txBody>
          <a:bodyPr/>
          <a:lstStyle>
            <a:lvl1pPr marL="342900" indent="-342900">
              <a:buFont typeface="Arial" panose="020B0604020202020204" pitchFamily="34" charset="0"/>
              <a:buChar char="•"/>
              <a:defRPr sz="1600" b="0" baseline="0">
                <a:latin typeface="Arial" panose="020B0604020202020204" pitchFamily="34" charset="0"/>
                <a:cs typeface="Arial" panose="020B0604020202020204" pitchFamily="34" charset="0"/>
              </a:defRPr>
            </a:lvl1pPr>
            <a:lvl2pPr>
              <a:defRPr sz="2400">
                <a:latin typeface="Arial" panose="020B0604020202020204" pitchFamily="34" charset="0"/>
                <a:cs typeface="Arial" panose="020B0604020202020204" pitchFamily="34" charset="0"/>
              </a:defRPr>
            </a:lvl2pPr>
            <a:lvl3pPr>
              <a:defRPr sz="2000">
                <a:latin typeface="Arial" panose="020B0604020202020204" pitchFamily="34" charset="0"/>
                <a:cs typeface="Arial" panose="020B0604020202020204" pitchFamily="34" charset="0"/>
              </a:defRPr>
            </a:lvl3pPr>
            <a:lvl4pPr>
              <a:defRPr sz="1800">
                <a:latin typeface="Arial" panose="020B0604020202020204" pitchFamily="34" charset="0"/>
                <a:cs typeface="Arial" panose="020B0604020202020204" pitchFamily="34" charset="0"/>
              </a:defRPr>
            </a:lvl4pPr>
            <a:lvl5pPr>
              <a:defRPr sz="18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0053375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2">
            <a:extLst>
              <a:ext uri="{FF2B5EF4-FFF2-40B4-BE49-F238E27FC236}">
                <a16:creationId xmlns:a16="http://schemas.microsoft.com/office/drawing/2014/main" id="{D6E894C7-E8D2-4715-8545-444CBD212588}"/>
              </a:ext>
            </a:extLst>
          </p:cNvPr>
          <p:cNvGrpSpPr>
            <a:grpSpLocks/>
          </p:cNvGrpSpPr>
          <p:nvPr/>
        </p:nvGrpSpPr>
        <p:grpSpPr bwMode="auto">
          <a:xfrm>
            <a:off x="1" y="2"/>
            <a:ext cx="9140825" cy="6850063"/>
            <a:chOff x="0" y="0"/>
            <a:chExt cx="5758" cy="4315"/>
          </a:xfrm>
        </p:grpSpPr>
        <p:grpSp>
          <p:nvGrpSpPr>
            <p:cNvPr id="5" name="Group 3">
              <a:extLst>
                <a:ext uri="{FF2B5EF4-FFF2-40B4-BE49-F238E27FC236}">
                  <a16:creationId xmlns:a16="http://schemas.microsoft.com/office/drawing/2014/main" id="{CB562348-1529-4C70-8744-BD5F17185E76}"/>
                </a:ext>
              </a:extLst>
            </p:cNvPr>
            <p:cNvGrpSpPr>
              <a:grpSpLocks/>
            </p:cNvGrpSpPr>
            <p:nvPr userDrawn="1"/>
          </p:nvGrpSpPr>
          <p:grpSpPr bwMode="auto">
            <a:xfrm>
              <a:off x="1728" y="2230"/>
              <a:ext cx="4027" cy="2085"/>
              <a:chOff x="1728" y="2230"/>
              <a:chExt cx="4027" cy="2085"/>
            </a:xfrm>
          </p:grpSpPr>
          <p:sp>
            <p:nvSpPr>
              <p:cNvPr id="8" name="Freeform 4">
                <a:extLst>
                  <a:ext uri="{FF2B5EF4-FFF2-40B4-BE49-F238E27FC236}">
                    <a16:creationId xmlns:a16="http://schemas.microsoft.com/office/drawing/2014/main" id="{D4DBA4AF-182D-4D96-91FF-6117912A7CE9}"/>
                  </a:ext>
                </a:extLst>
              </p:cNvPr>
              <p:cNvSpPr>
                <a:spLocks/>
              </p:cNvSpPr>
              <p:nvPr/>
            </p:nvSpPr>
            <p:spPr bwMode="hidden">
              <a:xfrm>
                <a:off x="1728" y="2644"/>
                <a:ext cx="2882" cy="1671"/>
              </a:xfrm>
              <a:custGeom>
                <a:avLst/>
                <a:gdLst/>
                <a:ahLst/>
                <a:cxnLst>
                  <a:cxn ang="0">
                    <a:pos x="2740" y="528"/>
                  </a:cxn>
                  <a:cxn ang="0">
                    <a:pos x="2632" y="484"/>
                  </a:cxn>
                  <a:cxn ang="0">
                    <a:pos x="2480" y="424"/>
                  </a:cxn>
                  <a:cxn ang="0">
                    <a:pos x="2203" y="343"/>
                  </a:cxn>
                  <a:cxn ang="0">
                    <a:pos x="1970" y="277"/>
                  </a:cxn>
                  <a:cxn ang="0">
                    <a:pos x="1807" y="212"/>
                  </a:cxn>
                  <a:cxn ang="0">
                    <a:pos x="1693" y="152"/>
                  </a:cxn>
                  <a:cxn ang="0">
                    <a:pos x="1628" y="103"/>
                  </a:cxn>
                  <a:cxn ang="0">
                    <a:pos x="1590" y="60"/>
                  </a:cxn>
                  <a:cxn ang="0">
                    <a:pos x="1579" y="27"/>
                  </a:cxn>
                  <a:cxn ang="0">
                    <a:pos x="1585" y="0"/>
                  </a:cxn>
                  <a:cxn ang="0">
                    <a:pos x="1557" y="49"/>
                  </a:cxn>
                  <a:cxn ang="0">
                    <a:pos x="1568" y="98"/>
                  </a:cxn>
                  <a:cxn ang="0">
                    <a:pos x="1617" y="141"/>
                  </a:cxn>
                  <a:cxn ang="0">
                    <a:pos x="1688" y="185"/>
                  </a:cxn>
                  <a:cxn ang="0">
                    <a:pos x="1791" y="228"/>
                  </a:cxn>
                  <a:cxn ang="0">
                    <a:pos x="2040" y="310"/>
                  </a:cxn>
                  <a:cxn ang="0">
                    <a:pos x="2285" y="381"/>
                  </a:cxn>
                  <a:cxn ang="0">
                    <a:pos x="2464" y="435"/>
                  </a:cxn>
                  <a:cxn ang="0">
                    <a:pos x="2605" y="484"/>
                  </a:cxn>
                  <a:cxn ang="0">
                    <a:pos x="2708" y="528"/>
                  </a:cxn>
                  <a:cxn ang="0">
                    <a:pos x="2768" y="560"/>
                  </a:cxn>
                  <a:cxn ang="0">
                    <a:pos x="2795" y="593"/>
                  </a:cxn>
                  <a:cxn ang="0">
                    <a:pos x="2795" y="642"/>
                  </a:cxn>
                  <a:cxn ang="0">
                    <a:pos x="2762" y="691"/>
                  </a:cxn>
                  <a:cxn ang="0">
                    <a:pos x="2692" y="735"/>
                  </a:cxn>
                  <a:cxn ang="0">
                    <a:pos x="2589" y="778"/>
                  </a:cxn>
                  <a:cxn ang="0">
                    <a:pos x="2458" y="822"/>
                  </a:cxn>
                  <a:cxn ang="0">
                    <a:pos x="2301" y="865"/>
                  </a:cxn>
                  <a:cxn ang="0">
                    <a:pos x="2030" y="930"/>
                  </a:cxn>
                  <a:cxn ang="0">
                    <a:pos x="1606" y="1034"/>
                  </a:cxn>
                  <a:cxn ang="0">
                    <a:pos x="1145" y="1164"/>
                  </a:cxn>
                  <a:cxn ang="0">
                    <a:pos x="673" y="1328"/>
                  </a:cxn>
                  <a:cxn ang="0">
                    <a:pos x="217" y="1545"/>
                  </a:cxn>
                  <a:cxn ang="0">
                    <a:pos x="353" y="1671"/>
                  </a:cxn>
                  <a:cxn ang="0">
                    <a:pos x="754" y="1469"/>
                  </a:cxn>
                  <a:cxn ang="0">
                    <a:pos x="1145" y="1311"/>
                  </a:cxn>
                  <a:cxn ang="0">
                    <a:pos x="1519" y="1186"/>
                  </a:cxn>
                  <a:cxn ang="0">
                    <a:pos x="1861" y="1083"/>
                  </a:cxn>
                  <a:cxn ang="0">
                    <a:pos x="2165" y="1007"/>
                  </a:cxn>
                  <a:cxn ang="0">
                    <a:pos x="2426" y="947"/>
                  </a:cxn>
                  <a:cxn ang="0">
                    <a:pos x="2626" y="892"/>
                  </a:cxn>
                  <a:cxn ang="0">
                    <a:pos x="2762" y="838"/>
                  </a:cxn>
                  <a:cxn ang="0">
                    <a:pos x="2827" y="794"/>
                  </a:cxn>
                  <a:cxn ang="0">
                    <a:pos x="2865" y="745"/>
                  </a:cxn>
                  <a:cxn ang="0">
                    <a:pos x="2882" y="702"/>
                  </a:cxn>
                  <a:cxn ang="0">
                    <a:pos x="2854" y="620"/>
                  </a:cxn>
                  <a:cxn ang="0">
                    <a:pos x="2800" y="560"/>
                  </a:cxn>
                  <a:cxn ang="0">
                    <a:pos x="2773" y="544"/>
                  </a:cxn>
                </a:cxnLst>
                <a:rect l="0" t="0" r="r" b="b"/>
                <a:pathLst>
                  <a:path w="2882" h="1671">
                    <a:moveTo>
                      <a:pt x="2773" y="544"/>
                    </a:moveTo>
                    <a:lnTo>
                      <a:pt x="2740" y="528"/>
                    </a:lnTo>
                    <a:lnTo>
                      <a:pt x="2692" y="506"/>
                    </a:lnTo>
                    <a:lnTo>
                      <a:pt x="2632" y="484"/>
                    </a:lnTo>
                    <a:lnTo>
                      <a:pt x="2561" y="457"/>
                    </a:lnTo>
                    <a:lnTo>
                      <a:pt x="2480" y="424"/>
                    </a:lnTo>
                    <a:lnTo>
                      <a:pt x="2388" y="397"/>
                    </a:lnTo>
                    <a:lnTo>
                      <a:pt x="2203" y="343"/>
                    </a:lnTo>
                    <a:lnTo>
                      <a:pt x="2078" y="310"/>
                    </a:lnTo>
                    <a:lnTo>
                      <a:pt x="1970" y="277"/>
                    </a:lnTo>
                    <a:lnTo>
                      <a:pt x="1878" y="245"/>
                    </a:lnTo>
                    <a:lnTo>
                      <a:pt x="1807" y="212"/>
                    </a:lnTo>
                    <a:lnTo>
                      <a:pt x="1742" y="179"/>
                    </a:lnTo>
                    <a:lnTo>
                      <a:pt x="1693" y="152"/>
                    </a:lnTo>
                    <a:lnTo>
                      <a:pt x="1655" y="125"/>
                    </a:lnTo>
                    <a:lnTo>
                      <a:pt x="1628" y="103"/>
                    </a:lnTo>
                    <a:lnTo>
                      <a:pt x="1606" y="81"/>
                    </a:lnTo>
                    <a:lnTo>
                      <a:pt x="1590" y="60"/>
                    </a:lnTo>
                    <a:lnTo>
                      <a:pt x="1585" y="43"/>
                    </a:lnTo>
                    <a:lnTo>
                      <a:pt x="1579" y="27"/>
                    </a:lnTo>
                    <a:lnTo>
                      <a:pt x="1585" y="5"/>
                    </a:lnTo>
                    <a:lnTo>
                      <a:pt x="1585" y="0"/>
                    </a:lnTo>
                    <a:lnTo>
                      <a:pt x="1568" y="27"/>
                    </a:lnTo>
                    <a:lnTo>
                      <a:pt x="1557" y="49"/>
                    </a:lnTo>
                    <a:lnTo>
                      <a:pt x="1557" y="76"/>
                    </a:lnTo>
                    <a:lnTo>
                      <a:pt x="1568" y="98"/>
                    </a:lnTo>
                    <a:lnTo>
                      <a:pt x="1590" y="120"/>
                    </a:lnTo>
                    <a:lnTo>
                      <a:pt x="1617" y="141"/>
                    </a:lnTo>
                    <a:lnTo>
                      <a:pt x="1650" y="163"/>
                    </a:lnTo>
                    <a:lnTo>
                      <a:pt x="1688" y="185"/>
                    </a:lnTo>
                    <a:lnTo>
                      <a:pt x="1737" y="207"/>
                    </a:lnTo>
                    <a:lnTo>
                      <a:pt x="1791" y="228"/>
                    </a:lnTo>
                    <a:lnTo>
                      <a:pt x="1905" y="267"/>
                    </a:lnTo>
                    <a:lnTo>
                      <a:pt x="2040" y="310"/>
                    </a:lnTo>
                    <a:lnTo>
                      <a:pt x="2182" y="348"/>
                    </a:lnTo>
                    <a:lnTo>
                      <a:pt x="2285" y="381"/>
                    </a:lnTo>
                    <a:lnTo>
                      <a:pt x="2382" y="408"/>
                    </a:lnTo>
                    <a:lnTo>
                      <a:pt x="2464" y="435"/>
                    </a:lnTo>
                    <a:lnTo>
                      <a:pt x="2540" y="462"/>
                    </a:lnTo>
                    <a:lnTo>
                      <a:pt x="2605" y="484"/>
                    </a:lnTo>
                    <a:lnTo>
                      <a:pt x="2659" y="506"/>
                    </a:lnTo>
                    <a:lnTo>
                      <a:pt x="2708" y="528"/>
                    </a:lnTo>
                    <a:lnTo>
                      <a:pt x="2740" y="544"/>
                    </a:lnTo>
                    <a:lnTo>
                      <a:pt x="2768" y="560"/>
                    </a:lnTo>
                    <a:lnTo>
                      <a:pt x="2784" y="577"/>
                    </a:lnTo>
                    <a:lnTo>
                      <a:pt x="2795" y="593"/>
                    </a:lnTo>
                    <a:lnTo>
                      <a:pt x="2800" y="615"/>
                    </a:lnTo>
                    <a:lnTo>
                      <a:pt x="2795" y="642"/>
                    </a:lnTo>
                    <a:lnTo>
                      <a:pt x="2784" y="664"/>
                    </a:lnTo>
                    <a:lnTo>
                      <a:pt x="2762" y="691"/>
                    </a:lnTo>
                    <a:lnTo>
                      <a:pt x="2730" y="713"/>
                    </a:lnTo>
                    <a:lnTo>
                      <a:pt x="2692" y="735"/>
                    </a:lnTo>
                    <a:lnTo>
                      <a:pt x="2643" y="756"/>
                    </a:lnTo>
                    <a:lnTo>
                      <a:pt x="2589" y="778"/>
                    </a:lnTo>
                    <a:lnTo>
                      <a:pt x="2529" y="800"/>
                    </a:lnTo>
                    <a:lnTo>
                      <a:pt x="2458" y="822"/>
                    </a:lnTo>
                    <a:lnTo>
                      <a:pt x="2382" y="843"/>
                    </a:lnTo>
                    <a:lnTo>
                      <a:pt x="2301" y="865"/>
                    </a:lnTo>
                    <a:lnTo>
                      <a:pt x="2214" y="887"/>
                    </a:lnTo>
                    <a:lnTo>
                      <a:pt x="2030" y="930"/>
                    </a:lnTo>
                    <a:lnTo>
                      <a:pt x="1823" y="979"/>
                    </a:lnTo>
                    <a:lnTo>
                      <a:pt x="1606" y="1034"/>
                    </a:lnTo>
                    <a:lnTo>
                      <a:pt x="1378" y="1094"/>
                    </a:lnTo>
                    <a:lnTo>
                      <a:pt x="1145" y="1164"/>
                    </a:lnTo>
                    <a:lnTo>
                      <a:pt x="912" y="1241"/>
                    </a:lnTo>
                    <a:lnTo>
                      <a:pt x="673" y="1328"/>
                    </a:lnTo>
                    <a:lnTo>
                      <a:pt x="440" y="1431"/>
                    </a:lnTo>
                    <a:lnTo>
                      <a:pt x="217" y="1545"/>
                    </a:lnTo>
                    <a:lnTo>
                      <a:pt x="0" y="1671"/>
                    </a:lnTo>
                    <a:lnTo>
                      <a:pt x="353" y="1671"/>
                    </a:lnTo>
                    <a:lnTo>
                      <a:pt x="554" y="1567"/>
                    </a:lnTo>
                    <a:lnTo>
                      <a:pt x="754" y="1469"/>
                    </a:lnTo>
                    <a:lnTo>
                      <a:pt x="955" y="1388"/>
                    </a:lnTo>
                    <a:lnTo>
                      <a:pt x="1145" y="1311"/>
                    </a:lnTo>
                    <a:lnTo>
                      <a:pt x="1335" y="1241"/>
                    </a:lnTo>
                    <a:lnTo>
                      <a:pt x="1519" y="1186"/>
                    </a:lnTo>
                    <a:lnTo>
                      <a:pt x="1693" y="1132"/>
                    </a:lnTo>
                    <a:lnTo>
                      <a:pt x="1861" y="1083"/>
                    </a:lnTo>
                    <a:lnTo>
                      <a:pt x="2019" y="1045"/>
                    </a:lnTo>
                    <a:lnTo>
                      <a:pt x="2165" y="1007"/>
                    </a:lnTo>
                    <a:lnTo>
                      <a:pt x="2301" y="974"/>
                    </a:lnTo>
                    <a:lnTo>
                      <a:pt x="2426" y="947"/>
                    </a:lnTo>
                    <a:lnTo>
                      <a:pt x="2534" y="914"/>
                    </a:lnTo>
                    <a:lnTo>
                      <a:pt x="2626" y="892"/>
                    </a:lnTo>
                    <a:lnTo>
                      <a:pt x="2702" y="865"/>
                    </a:lnTo>
                    <a:lnTo>
                      <a:pt x="2762" y="838"/>
                    </a:lnTo>
                    <a:lnTo>
                      <a:pt x="2800" y="816"/>
                    </a:lnTo>
                    <a:lnTo>
                      <a:pt x="2827" y="794"/>
                    </a:lnTo>
                    <a:lnTo>
                      <a:pt x="2849" y="767"/>
                    </a:lnTo>
                    <a:lnTo>
                      <a:pt x="2865" y="745"/>
                    </a:lnTo>
                    <a:lnTo>
                      <a:pt x="2876" y="724"/>
                    </a:lnTo>
                    <a:lnTo>
                      <a:pt x="2882" y="702"/>
                    </a:lnTo>
                    <a:lnTo>
                      <a:pt x="2876" y="658"/>
                    </a:lnTo>
                    <a:lnTo>
                      <a:pt x="2854" y="620"/>
                    </a:lnTo>
                    <a:lnTo>
                      <a:pt x="2833" y="588"/>
                    </a:lnTo>
                    <a:lnTo>
                      <a:pt x="2800" y="560"/>
                    </a:lnTo>
                    <a:lnTo>
                      <a:pt x="2773" y="544"/>
                    </a:lnTo>
                    <a:lnTo>
                      <a:pt x="2773" y="544"/>
                    </a:lnTo>
                    <a:close/>
                  </a:path>
                </a:pathLst>
              </a:custGeom>
              <a:gradFill rotWithShape="0">
                <a:gsLst>
                  <a:gs pos="0">
                    <a:schemeClr val="bg1"/>
                  </a:gs>
                  <a:gs pos="100000">
                    <a:schemeClr val="bg1">
                      <a:gamma/>
                      <a:shade val="90980"/>
                      <a:invGamma/>
                    </a:schemeClr>
                  </a:gs>
                </a:gsLst>
                <a:lin ang="0" scaled="1"/>
              </a:gradFill>
              <a:ln w="9525">
                <a:noFill/>
                <a:round/>
                <a:headEnd/>
                <a:tailEnd/>
              </a:ln>
            </p:spPr>
            <p:txBody>
              <a:bodyPr/>
              <a:lstStyle/>
              <a:p>
                <a:pPr eaLnBrk="0" hangingPunct="0">
                  <a:defRPr/>
                </a:pPr>
                <a:endParaRPr lang="en-US" sz="1800">
                  <a:cs typeface="+mn-cs"/>
                </a:endParaRPr>
              </a:p>
            </p:txBody>
          </p:sp>
          <p:sp>
            <p:nvSpPr>
              <p:cNvPr id="9" name="Freeform 5">
                <a:extLst>
                  <a:ext uri="{FF2B5EF4-FFF2-40B4-BE49-F238E27FC236}">
                    <a16:creationId xmlns:a16="http://schemas.microsoft.com/office/drawing/2014/main" id="{FB0EF823-F0B7-404A-8B76-E3858DC2E0DE}"/>
                  </a:ext>
                </a:extLst>
              </p:cNvPr>
              <p:cNvSpPr>
                <a:spLocks/>
              </p:cNvSpPr>
              <p:nvPr/>
            </p:nvSpPr>
            <p:spPr bwMode="hidden">
              <a:xfrm>
                <a:off x="4170" y="2671"/>
                <a:ext cx="1259" cy="811"/>
              </a:xfrm>
              <a:custGeom>
                <a:avLst/>
                <a:gdLst/>
                <a:ahLst/>
                <a:cxnLst>
                  <a:cxn ang="0">
                    <a:pos x="1259" y="615"/>
                  </a:cxn>
                  <a:cxn ang="0">
                    <a:pos x="1248" y="588"/>
                  </a:cxn>
                  <a:cxn ang="0">
                    <a:pos x="1237" y="566"/>
                  </a:cxn>
                  <a:cxn ang="0">
                    <a:pos x="1216" y="539"/>
                  </a:cxn>
                  <a:cxn ang="0">
                    <a:pos x="1188" y="517"/>
                  </a:cxn>
                  <a:cxn ang="0">
                    <a:pos x="1123" y="479"/>
                  </a:cxn>
                  <a:cxn ang="0">
                    <a:pos x="1042" y="441"/>
                  </a:cxn>
                  <a:cxn ang="0">
                    <a:pos x="944" y="408"/>
                  </a:cxn>
                  <a:cxn ang="0">
                    <a:pos x="841" y="381"/>
                  </a:cxn>
                  <a:cxn ang="0">
                    <a:pos x="727" y="348"/>
                  </a:cxn>
                  <a:cxn ang="0">
                    <a:pos x="613" y="321"/>
                  </a:cxn>
                  <a:cxn ang="0">
                    <a:pos x="499" y="294"/>
                  </a:cxn>
                  <a:cxn ang="0">
                    <a:pos x="391" y="261"/>
                  </a:cxn>
                  <a:cxn ang="0">
                    <a:pos x="288" y="229"/>
                  </a:cxn>
                  <a:cxn ang="0">
                    <a:pos x="195" y="196"/>
                  </a:cxn>
                  <a:cxn ang="0">
                    <a:pos x="119" y="152"/>
                  </a:cxn>
                  <a:cxn ang="0">
                    <a:pos x="54" y="109"/>
                  </a:cxn>
                  <a:cxn ang="0">
                    <a:pos x="33" y="87"/>
                  </a:cxn>
                  <a:cxn ang="0">
                    <a:pos x="16" y="60"/>
                  </a:cxn>
                  <a:cxn ang="0">
                    <a:pos x="5" y="33"/>
                  </a:cxn>
                  <a:cxn ang="0">
                    <a:pos x="0" y="0"/>
                  </a:cxn>
                  <a:cxn ang="0">
                    <a:pos x="0" y="6"/>
                  </a:cxn>
                  <a:cxn ang="0">
                    <a:pos x="0" y="11"/>
                  </a:cxn>
                  <a:cxn ang="0">
                    <a:pos x="0" y="38"/>
                  </a:cxn>
                  <a:cxn ang="0">
                    <a:pos x="5" y="60"/>
                  </a:cxn>
                  <a:cxn ang="0">
                    <a:pos x="16" y="87"/>
                  </a:cxn>
                  <a:cxn ang="0">
                    <a:pos x="33" y="114"/>
                  </a:cxn>
                  <a:cxn ang="0">
                    <a:pos x="54" y="142"/>
                  </a:cxn>
                  <a:cxn ang="0">
                    <a:pos x="87" y="174"/>
                  </a:cxn>
                  <a:cxn ang="0">
                    <a:pos x="125" y="207"/>
                  </a:cxn>
                  <a:cxn ang="0">
                    <a:pos x="179" y="240"/>
                  </a:cxn>
                  <a:cxn ang="0">
                    <a:pos x="244" y="278"/>
                  </a:cxn>
                  <a:cxn ang="0">
                    <a:pos x="326" y="310"/>
                  </a:cxn>
                  <a:cxn ang="0">
                    <a:pos x="418" y="348"/>
                  </a:cxn>
                  <a:cxn ang="0">
                    <a:pos x="526" y="381"/>
                  </a:cxn>
                  <a:cxn ang="0">
                    <a:pos x="657" y="414"/>
                  </a:cxn>
                  <a:cxn ang="0">
                    <a:pos x="749" y="435"/>
                  </a:cxn>
                  <a:cxn ang="0">
                    <a:pos x="830" y="463"/>
                  </a:cxn>
                  <a:cxn ang="0">
                    <a:pos x="901" y="490"/>
                  </a:cxn>
                  <a:cxn ang="0">
                    <a:pos x="966" y="512"/>
                  </a:cxn>
                  <a:cxn ang="0">
                    <a:pos x="1015" y="539"/>
                  </a:cxn>
                  <a:cxn ang="0">
                    <a:pos x="1053" y="566"/>
                  </a:cxn>
                  <a:cxn ang="0">
                    <a:pos x="1080" y="593"/>
                  </a:cxn>
                  <a:cxn ang="0">
                    <a:pos x="1102" y="620"/>
                  </a:cxn>
                  <a:cxn ang="0">
                    <a:pos x="1112" y="648"/>
                  </a:cxn>
                  <a:cxn ang="0">
                    <a:pos x="1118" y="675"/>
                  </a:cxn>
                  <a:cxn ang="0">
                    <a:pos x="1112" y="697"/>
                  </a:cxn>
                  <a:cxn ang="0">
                    <a:pos x="1096" y="724"/>
                  </a:cxn>
                  <a:cxn ang="0">
                    <a:pos x="1080" y="746"/>
                  </a:cxn>
                  <a:cxn ang="0">
                    <a:pos x="1053" y="767"/>
                  </a:cxn>
                  <a:cxn ang="0">
                    <a:pos x="1015" y="789"/>
                  </a:cxn>
                  <a:cxn ang="0">
                    <a:pos x="977" y="811"/>
                  </a:cxn>
                  <a:cxn ang="0">
                    <a:pos x="1047" y="789"/>
                  </a:cxn>
                  <a:cxn ang="0">
                    <a:pos x="1107" y="767"/>
                  </a:cxn>
                  <a:cxn ang="0">
                    <a:pos x="1156" y="746"/>
                  </a:cxn>
                  <a:cxn ang="0">
                    <a:pos x="1199" y="724"/>
                  </a:cxn>
                  <a:cxn ang="0">
                    <a:pos x="1226" y="702"/>
                  </a:cxn>
                  <a:cxn ang="0">
                    <a:pos x="1248" y="675"/>
                  </a:cxn>
                  <a:cxn ang="0">
                    <a:pos x="1259" y="648"/>
                  </a:cxn>
                  <a:cxn ang="0">
                    <a:pos x="1259" y="615"/>
                  </a:cxn>
                  <a:cxn ang="0">
                    <a:pos x="1259" y="615"/>
                  </a:cxn>
                </a:cxnLst>
                <a:rect l="0" t="0" r="r" b="b"/>
                <a:pathLst>
                  <a:path w="1259" h="811">
                    <a:moveTo>
                      <a:pt x="1259" y="615"/>
                    </a:moveTo>
                    <a:lnTo>
                      <a:pt x="1248" y="588"/>
                    </a:lnTo>
                    <a:lnTo>
                      <a:pt x="1237" y="566"/>
                    </a:lnTo>
                    <a:lnTo>
                      <a:pt x="1216" y="539"/>
                    </a:lnTo>
                    <a:lnTo>
                      <a:pt x="1188" y="517"/>
                    </a:lnTo>
                    <a:lnTo>
                      <a:pt x="1123" y="479"/>
                    </a:lnTo>
                    <a:lnTo>
                      <a:pt x="1042" y="441"/>
                    </a:lnTo>
                    <a:lnTo>
                      <a:pt x="944" y="408"/>
                    </a:lnTo>
                    <a:lnTo>
                      <a:pt x="841" y="381"/>
                    </a:lnTo>
                    <a:lnTo>
                      <a:pt x="727" y="348"/>
                    </a:lnTo>
                    <a:lnTo>
                      <a:pt x="613" y="321"/>
                    </a:lnTo>
                    <a:lnTo>
                      <a:pt x="499" y="294"/>
                    </a:lnTo>
                    <a:lnTo>
                      <a:pt x="391" y="261"/>
                    </a:lnTo>
                    <a:lnTo>
                      <a:pt x="288" y="229"/>
                    </a:lnTo>
                    <a:lnTo>
                      <a:pt x="195" y="196"/>
                    </a:lnTo>
                    <a:lnTo>
                      <a:pt x="119" y="152"/>
                    </a:lnTo>
                    <a:lnTo>
                      <a:pt x="54" y="109"/>
                    </a:lnTo>
                    <a:lnTo>
                      <a:pt x="33" y="87"/>
                    </a:lnTo>
                    <a:lnTo>
                      <a:pt x="16" y="60"/>
                    </a:lnTo>
                    <a:lnTo>
                      <a:pt x="5" y="33"/>
                    </a:lnTo>
                    <a:lnTo>
                      <a:pt x="0" y="0"/>
                    </a:lnTo>
                    <a:lnTo>
                      <a:pt x="0" y="6"/>
                    </a:lnTo>
                    <a:lnTo>
                      <a:pt x="0" y="11"/>
                    </a:lnTo>
                    <a:lnTo>
                      <a:pt x="0" y="38"/>
                    </a:lnTo>
                    <a:lnTo>
                      <a:pt x="5" y="60"/>
                    </a:lnTo>
                    <a:lnTo>
                      <a:pt x="16" y="87"/>
                    </a:lnTo>
                    <a:lnTo>
                      <a:pt x="33" y="114"/>
                    </a:lnTo>
                    <a:lnTo>
                      <a:pt x="54" y="142"/>
                    </a:lnTo>
                    <a:lnTo>
                      <a:pt x="87" y="174"/>
                    </a:lnTo>
                    <a:lnTo>
                      <a:pt x="125" y="207"/>
                    </a:lnTo>
                    <a:lnTo>
                      <a:pt x="179" y="240"/>
                    </a:lnTo>
                    <a:lnTo>
                      <a:pt x="244" y="278"/>
                    </a:lnTo>
                    <a:lnTo>
                      <a:pt x="326" y="310"/>
                    </a:lnTo>
                    <a:lnTo>
                      <a:pt x="418" y="348"/>
                    </a:lnTo>
                    <a:lnTo>
                      <a:pt x="526" y="381"/>
                    </a:lnTo>
                    <a:lnTo>
                      <a:pt x="657" y="414"/>
                    </a:lnTo>
                    <a:lnTo>
                      <a:pt x="749" y="435"/>
                    </a:lnTo>
                    <a:lnTo>
                      <a:pt x="830" y="463"/>
                    </a:lnTo>
                    <a:lnTo>
                      <a:pt x="901" y="490"/>
                    </a:lnTo>
                    <a:lnTo>
                      <a:pt x="966" y="512"/>
                    </a:lnTo>
                    <a:lnTo>
                      <a:pt x="1015" y="539"/>
                    </a:lnTo>
                    <a:lnTo>
                      <a:pt x="1053" y="566"/>
                    </a:lnTo>
                    <a:lnTo>
                      <a:pt x="1080" y="593"/>
                    </a:lnTo>
                    <a:lnTo>
                      <a:pt x="1102" y="620"/>
                    </a:lnTo>
                    <a:lnTo>
                      <a:pt x="1112" y="648"/>
                    </a:lnTo>
                    <a:lnTo>
                      <a:pt x="1118" y="675"/>
                    </a:lnTo>
                    <a:lnTo>
                      <a:pt x="1112" y="697"/>
                    </a:lnTo>
                    <a:lnTo>
                      <a:pt x="1096" y="724"/>
                    </a:lnTo>
                    <a:lnTo>
                      <a:pt x="1080" y="746"/>
                    </a:lnTo>
                    <a:lnTo>
                      <a:pt x="1053" y="767"/>
                    </a:lnTo>
                    <a:lnTo>
                      <a:pt x="1015" y="789"/>
                    </a:lnTo>
                    <a:lnTo>
                      <a:pt x="977" y="811"/>
                    </a:lnTo>
                    <a:lnTo>
                      <a:pt x="1047" y="789"/>
                    </a:lnTo>
                    <a:lnTo>
                      <a:pt x="1107" y="767"/>
                    </a:lnTo>
                    <a:lnTo>
                      <a:pt x="1156" y="746"/>
                    </a:lnTo>
                    <a:lnTo>
                      <a:pt x="1199" y="724"/>
                    </a:lnTo>
                    <a:lnTo>
                      <a:pt x="1226" y="702"/>
                    </a:lnTo>
                    <a:lnTo>
                      <a:pt x="1248" y="675"/>
                    </a:lnTo>
                    <a:lnTo>
                      <a:pt x="1259" y="648"/>
                    </a:lnTo>
                    <a:lnTo>
                      <a:pt x="1259" y="615"/>
                    </a:lnTo>
                    <a:lnTo>
                      <a:pt x="1259" y="615"/>
                    </a:lnTo>
                    <a:close/>
                  </a:path>
                </a:pathLst>
              </a:custGeom>
              <a:gradFill rotWithShape="0">
                <a:gsLst>
                  <a:gs pos="0">
                    <a:schemeClr val="bg1"/>
                  </a:gs>
                  <a:gs pos="100000">
                    <a:schemeClr val="bg1">
                      <a:gamma/>
                      <a:shade val="90980"/>
                      <a:invGamma/>
                    </a:schemeClr>
                  </a:gs>
                </a:gsLst>
                <a:lin ang="2700000" scaled="1"/>
              </a:gradFill>
              <a:ln w="9525">
                <a:noFill/>
                <a:round/>
                <a:headEnd/>
                <a:tailEnd/>
              </a:ln>
            </p:spPr>
            <p:txBody>
              <a:bodyPr/>
              <a:lstStyle/>
              <a:p>
                <a:pPr eaLnBrk="0" hangingPunct="0">
                  <a:defRPr/>
                </a:pPr>
                <a:endParaRPr lang="en-US" sz="1800">
                  <a:cs typeface="+mn-cs"/>
                </a:endParaRPr>
              </a:p>
            </p:txBody>
          </p:sp>
          <p:sp>
            <p:nvSpPr>
              <p:cNvPr id="10" name="Freeform 6">
                <a:extLst>
                  <a:ext uri="{FF2B5EF4-FFF2-40B4-BE49-F238E27FC236}">
                    <a16:creationId xmlns:a16="http://schemas.microsoft.com/office/drawing/2014/main" id="{F0214303-C200-4ADF-92F6-9E1E2C95A3D2}"/>
                  </a:ext>
                </a:extLst>
              </p:cNvPr>
              <p:cNvSpPr>
                <a:spLocks/>
              </p:cNvSpPr>
              <p:nvPr/>
            </p:nvSpPr>
            <p:spPr bwMode="hidden">
              <a:xfrm>
                <a:off x="2900" y="3346"/>
                <a:ext cx="2849" cy="969"/>
              </a:xfrm>
              <a:custGeom>
                <a:avLst/>
                <a:gdLst/>
                <a:ahLst/>
                <a:cxnLst>
                  <a:cxn ang="0">
                    <a:pos x="92" y="958"/>
                  </a:cxn>
                  <a:cxn ang="0">
                    <a:pos x="0" y="969"/>
                  </a:cxn>
                  <a:cxn ang="0">
                    <a:pos x="391" y="969"/>
                  </a:cxn>
                  <a:cxn ang="0">
                    <a:pos x="434" y="947"/>
                  </a:cxn>
                  <a:cxn ang="0">
                    <a:pos x="483" y="914"/>
                  </a:cxn>
                  <a:cxn ang="0">
                    <a:pos x="554" y="876"/>
                  </a:cxn>
                  <a:cxn ang="0">
                    <a:pos x="635" y="838"/>
                  </a:cxn>
                  <a:cxn ang="0">
                    <a:pos x="727" y="794"/>
                  </a:cxn>
                  <a:cxn ang="0">
                    <a:pos x="836" y="745"/>
                  </a:cxn>
                  <a:cxn ang="0">
                    <a:pos x="961" y="696"/>
                  </a:cxn>
                  <a:cxn ang="0">
                    <a:pos x="1102" y="642"/>
                  </a:cxn>
                  <a:cxn ang="0">
                    <a:pos x="1259" y="582"/>
                  </a:cxn>
                  <a:cxn ang="0">
                    <a:pos x="1433" y="522"/>
                  </a:cxn>
                  <a:cxn ang="0">
                    <a:pos x="1623" y="462"/>
                  </a:cxn>
                  <a:cxn ang="0">
                    <a:pos x="1829" y="403"/>
                  </a:cxn>
                  <a:cxn ang="0">
                    <a:pos x="2057" y="343"/>
                  </a:cxn>
                  <a:cxn ang="0">
                    <a:pos x="2301" y="283"/>
                  </a:cxn>
                  <a:cxn ang="0">
                    <a:pos x="2567" y="223"/>
                  </a:cxn>
                  <a:cxn ang="0">
                    <a:pos x="2849" y="163"/>
                  </a:cxn>
                  <a:cxn ang="0">
                    <a:pos x="2849" y="0"/>
                  </a:cxn>
                  <a:cxn ang="0">
                    <a:pos x="2817" y="16"/>
                  </a:cxn>
                  <a:cxn ang="0">
                    <a:pos x="2773" y="33"/>
                  </a:cxn>
                  <a:cxn ang="0">
                    <a:pos x="2719" y="54"/>
                  </a:cxn>
                  <a:cxn ang="0">
                    <a:pos x="2648" y="76"/>
                  </a:cxn>
                  <a:cxn ang="0">
                    <a:pos x="2572" y="98"/>
                  </a:cxn>
                  <a:cxn ang="0">
                    <a:pos x="2491" y="120"/>
                  </a:cxn>
                  <a:cxn ang="0">
                    <a:pos x="2399" y="147"/>
                  </a:cxn>
                  <a:cxn ang="0">
                    <a:pos x="2301" y="169"/>
                  </a:cxn>
                  <a:cxn ang="0">
                    <a:pos x="2095" y="223"/>
                  </a:cxn>
                  <a:cxn ang="0">
                    <a:pos x="1889" y="277"/>
                  </a:cxn>
                  <a:cxn ang="0">
                    <a:pos x="1688" y="326"/>
                  </a:cxn>
                  <a:cxn ang="0">
                    <a:pos x="1590" y="354"/>
                  </a:cxn>
                  <a:cxn ang="0">
                    <a:pos x="1503" y="381"/>
                  </a:cxn>
                  <a:cxn ang="0">
                    <a:pos x="1107" y="506"/>
                  </a:cxn>
                  <a:cxn ang="0">
                    <a:pos x="912" y="577"/>
                  </a:cxn>
                  <a:cxn ang="0">
                    <a:pos x="727" y="647"/>
                  </a:cxn>
                  <a:cxn ang="0">
                    <a:pos x="548" y="718"/>
                  </a:cxn>
                  <a:cxn ang="0">
                    <a:pos x="380" y="794"/>
                  </a:cxn>
                  <a:cxn ang="0">
                    <a:pos x="228" y="876"/>
                  </a:cxn>
                  <a:cxn ang="0">
                    <a:pos x="92" y="958"/>
                  </a:cxn>
                  <a:cxn ang="0">
                    <a:pos x="92" y="958"/>
                  </a:cxn>
                </a:cxnLst>
                <a:rect l="0" t="0" r="r" b="b"/>
                <a:pathLst>
                  <a:path w="2849" h="969">
                    <a:moveTo>
                      <a:pt x="92" y="958"/>
                    </a:moveTo>
                    <a:lnTo>
                      <a:pt x="0" y="969"/>
                    </a:lnTo>
                    <a:lnTo>
                      <a:pt x="391" y="969"/>
                    </a:lnTo>
                    <a:lnTo>
                      <a:pt x="434" y="947"/>
                    </a:lnTo>
                    <a:lnTo>
                      <a:pt x="483" y="914"/>
                    </a:lnTo>
                    <a:lnTo>
                      <a:pt x="554" y="876"/>
                    </a:lnTo>
                    <a:lnTo>
                      <a:pt x="635" y="838"/>
                    </a:lnTo>
                    <a:lnTo>
                      <a:pt x="727" y="794"/>
                    </a:lnTo>
                    <a:lnTo>
                      <a:pt x="836" y="745"/>
                    </a:lnTo>
                    <a:lnTo>
                      <a:pt x="961" y="696"/>
                    </a:lnTo>
                    <a:lnTo>
                      <a:pt x="1102" y="642"/>
                    </a:lnTo>
                    <a:lnTo>
                      <a:pt x="1259" y="582"/>
                    </a:lnTo>
                    <a:lnTo>
                      <a:pt x="1433" y="522"/>
                    </a:lnTo>
                    <a:lnTo>
                      <a:pt x="1623" y="462"/>
                    </a:lnTo>
                    <a:lnTo>
                      <a:pt x="1829" y="403"/>
                    </a:lnTo>
                    <a:lnTo>
                      <a:pt x="2057" y="343"/>
                    </a:lnTo>
                    <a:lnTo>
                      <a:pt x="2301" y="283"/>
                    </a:lnTo>
                    <a:lnTo>
                      <a:pt x="2567" y="223"/>
                    </a:lnTo>
                    <a:lnTo>
                      <a:pt x="2849" y="163"/>
                    </a:lnTo>
                    <a:lnTo>
                      <a:pt x="2849" y="0"/>
                    </a:lnTo>
                    <a:lnTo>
                      <a:pt x="2817" y="16"/>
                    </a:lnTo>
                    <a:lnTo>
                      <a:pt x="2773" y="33"/>
                    </a:lnTo>
                    <a:lnTo>
                      <a:pt x="2719" y="54"/>
                    </a:lnTo>
                    <a:lnTo>
                      <a:pt x="2648" y="76"/>
                    </a:lnTo>
                    <a:lnTo>
                      <a:pt x="2572" y="98"/>
                    </a:lnTo>
                    <a:lnTo>
                      <a:pt x="2491" y="120"/>
                    </a:lnTo>
                    <a:lnTo>
                      <a:pt x="2399" y="147"/>
                    </a:lnTo>
                    <a:lnTo>
                      <a:pt x="2301" y="169"/>
                    </a:lnTo>
                    <a:lnTo>
                      <a:pt x="2095" y="223"/>
                    </a:lnTo>
                    <a:lnTo>
                      <a:pt x="1889" y="277"/>
                    </a:lnTo>
                    <a:lnTo>
                      <a:pt x="1688" y="326"/>
                    </a:lnTo>
                    <a:lnTo>
                      <a:pt x="1590" y="354"/>
                    </a:lnTo>
                    <a:lnTo>
                      <a:pt x="1503" y="381"/>
                    </a:lnTo>
                    <a:lnTo>
                      <a:pt x="1107" y="506"/>
                    </a:lnTo>
                    <a:lnTo>
                      <a:pt x="912" y="577"/>
                    </a:lnTo>
                    <a:lnTo>
                      <a:pt x="727" y="647"/>
                    </a:lnTo>
                    <a:lnTo>
                      <a:pt x="548" y="718"/>
                    </a:lnTo>
                    <a:lnTo>
                      <a:pt x="380" y="794"/>
                    </a:lnTo>
                    <a:lnTo>
                      <a:pt x="228" y="876"/>
                    </a:lnTo>
                    <a:lnTo>
                      <a:pt x="92" y="958"/>
                    </a:lnTo>
                    <a:lnTo>
                      <a:pt x="92" y="958"/>
                    </a:lnTo>
                    <a:close/>
                  </a:path>
                </a:pathLst>
              </a:custGeom>
              <a:gradFill rotWithShape="0">
                <a:gsLst>
                  <a:gs pos="0">
                    <a:schemeClr val="bg1">
                      <a:gamma/>
                      <a:shade val="81961"/>
                      <a:invGamma/>
                    </a:schemeClr>
                  </a:gs>
                  <a:gs pos="100000">
                    <a:schemeClr val="bg1"/>
                  </a:gs>
                </a:gsLst>
                <a:lin ang="5400000" scaled="1"/>
              </a:gradFill>
              <a:ln w="9525">
                <a:noFill/>
                <a:round/>
                <a:headEnd/>
                <a:tailEnd/>
              </a:ln>
            </p:spPr>
            <p:txBody>
              <a:bodyPr/>
              <a:lstStyle/>
              <a:p>
                <a:pPr eaLnBrk="0" hangingPunct="0">
                  <a:defRPr/>
                </a:pPr>
                <a:endParaRPr lang="en-US" sz="1800">
                  <a:cs typeface="+mn-cs"/>
                </a:endParaRPr>
              </a:p>
            </p:txBody>
          </p:sp>
          <p:sp>
            <p:nvSpPr>
              <p:cNvPr id="11" name="Freeform 7">
                <a:extLst>
                  <a:ext uri="{FF2B5EF4-FFF2-40B4-BE49-F238E27FC236}">
                    <a16:creationId xmlns:a16="http://schemas.microsoft.com/office/drawing/2014/main" id="{EA0639E2-AA0A-4439-8CDC-A09F2207C857}"/>
                  </a:ext>
                </a:extLst>
              </p:cNvPr>
              <p:cNvSpPr>
                <a:spLocks/>
              </p:cNvSpPr>
              <p:nvPr/>
            </p:nvSpPr>
            <p:spPr bwMode="hidden">
              <a:xfrm>
                <a:off x="2748" y="2230"/>
                <a:ext cx="3007" cy="2085"/>
              </a:xfrm>
              <a:custGeom>
                <a:avLst/>
                <a:gdLst>
                  <a:gd name="T0" fmla="*/ 1433 w 3007"/>
                  <a:gd name="T1" fmla="*/ 474 h 2085"/>
                  <a:gd name="T2" fmla="*/ 1460 w 3007"/>
                  <a:gd name="T3" fmla="*/ 528 h 2085"/>
                  <a:gd name="T4" fmla="*/ 1541 w 3007"/>
                  <a:gd name="T5" fmla="*/ 593 h 2085"/>
                  <a:gd name="T6" fmla="*/ 1715 w 3007"/>
                  <a:gd name="T7" fmla="*/ 670 h 2085"/>
                  <a:gd name="T8" fmla="*/ 1927 w 3007"/>
                  <a:gd name="T9" fmla="*/ 735 h 2085"/>
                  <a:gd name="T10" fmla="*/ 2155 w 3007"/>
                  <a:gd name="T11" fmla="*/ 789 h 2085"/>
                  <a:gd name="T12" fmla="*/ 2372 w 3007"/>
                  <a:gd name="T13" fmla="*/ 849 h 2085"/>
                  <a:gd name="T14" fmla="*/ 2551 w 3007"/>
                  <a:gd name="T15" fmla="*/ 920 h 2085"/>
                  <a:gd name="T16" fmla="*/ 2638 w 3007"/>
                  <a:gd name="T17" fmla="*/ 980 h 2085"/>
                  <a:gd name="T18" fmla="*/ 2676 w 3007"/>
                  <a:gd name="T19" fmla="*/ 1029 h 2085"/>
                  <a:gd name="T20" fmla="*/ 2681 w 3007"/>
                  <a:gd name="T21" fmla="*/ 1083 h 2085"/>
                  <a:gd name="T22" fmla="*/ 2665 w 3007"/>
                  <a:gd name="T23" fmla="*/ 1127 h 2085"/>
                  <a:gd name="T24" fmla="*/ 2616 w 3007"/>
                  <a:gd name="T25" fmla="*/ 1170 h 2085"/>
                  <a:gd name="T26" fmla="*/ 2545 w 3007"/>
                  <a:gd name="T27" fmla="*/ 1208 h 2085"/>
                  <a:gd name="T28" fmla="*/ 2448 w 3007"/>
                  <a:gd name="T29" fmla="*/ 1241 h 2085"/>
                  <a:gd name="T30" fmla="*/ 2328 w 3007"/>
                  <a:gd name="T31" fmla="*/ 1274 h 2085"/>
                  <a:gd name="T32" fmla="*/ 2106 w 3007"/>
                  <a:gd name="T33" fmla="*/ 1328 h 2085"/>
                  <a:gd name="T34" fmla="*/ 1742 w 3007"/>
                  <a:gd name="T35" fmla="*/ 1421 h 2085"/>
                  <a:gd name="T36" fmla="*/ 1308 w 3007"/>
                  <a:gd name="T37" fmla="*/ 1540 h 2085"/>
                  <a:gd name="T38" fmla="*/ 820 w 3007"/>
                  <a:gd name="T39" fmla="*/ 1709 h 2085"/>
                  <a:gd name="T40" fmla="*/ 282 w 3007"/>
                  <a:gd name="T41" fmla="*/ 1943 h 2085"/>
                  <a:gd name="T42" fmla="*/ 152 w 3007"/>
                  <a:gd name="T43" fmla="*/ 2085 h 2085"/>
                  <a:gd name="T44" fmla="*/ 386 w 3007"/>
                  <a:gd name="T45" fmla="*/ 1992 h 2085"/>
                  <a:gd name="T46" fmla="*/ 700 w 3007"/>
                  <a:gd name="T47" fmla="*/ 1834 h 2085"/>
                  <a:gd name="T48" fmla="*/ 1064 w 3007"/>
                  <a:gd name="T49" fmla="*/ 1693 h 2085"/>
                  <a:gd name="T50" fmla="*/ 1661 w 3007"/>
                  <a:gd name="T51" fmla="*/ 1497 h 2085"/>
                  <a:gd name="T52" fmla="*/ 1845 w 3007"/>
                  <a:gd name="T53" fmla="*/ 1442 h 2085"/>
                  <a:gd name="T54" fmla="*/ 2252 w 3007"/>
                  <a:gd name="T55" fmla="*/ 1339 h 2085"/>
                  <a:gd name="T56" fmla="*/ 2551 w 3007"/>
                  <a:gd name="T57" fmla="*/ 1263 h 2085"/>
                  <a:gd name="T58" fmla="*/ 2730 w 3007"/>
                  <a:gd name="T59" fmla="*/ 1214 h 2085"/>
                  <a:gd name="T60" fmla="*/ 2876 w 3007"/>
                  <a:gd name="T61" fmla="*/ 1170 h 2085"/>
                  <a:gd name="T62" fmla="*/ 2974 w 3007"/>
                  <a:gd name="T63" fmla="*/ 1132 h 2085"/>
                  <a:gd name="T64" fmla="*/ 3007 w 3007"/>
                  <a:gd name="T65" fmla="*/ 871 h 2085"/>
                  <a:gd name="T66" fmla="*/ 2860 w 3007"/>
                  <a:gd name="T67" fmla="*/ 844 h 2085"/>
                  <a:gd name="T68" fmla="*/ 2670 w 3007"/>
                  <a:gd name="T69" fmla="*/ 806 h 2085"/>
                  <a:gd name="T70" fmla="*/ 2458 w 3007"/>
                  <a:gd name="T71" fmla="*/ 757 h 2085"/>
                  <a:gd name="T72" fmla="*/ 2138 w 3007"/>
                  <a:gd name="T73" fmla="*/ 670 h 2085"/>
                  <a:gd name="T74" fmla="*/ 1959 w 3007"/>
                  <a:gd name="T75" fmla="*/ 604 h 2085"/>
                  <a:gd name="T76" fmla="*/ 1824 w 3007"/>
                  <a:gd name="T77" fmla="*/ 534 h 2085"/>
                  <a:gd name="T78" fmla="*/ 1769 w 3007"/>
                  <a:gd name="T79" fmla="*/ 474 h 2085"/>
                  <a:gd name="T80" fmla="*/ 1753 w 3007"/>
                  <a:gd name="T81" fmla="*/ 436 h 2085"/>
                  <a:gd name="T82" fmla="*/ 1780 w 3007"/>
                  <a:gd name="T83" fmla="*/ 381 h 2085"/>
                  <a:gd name="T84" fmla="*/ 1862 w 3007"/>
                  <a:gd name="T85" fmla="*/ 316 h 2085"/>
                  <a:gd name="T86" fmla="*/ 1986 w 3007"/>
                  <a:gd name="T87" fmla="*/ 267 h 2085"/>
                  <a:gd name="T88" fmla="*/ 2149 w 3007"/>
                  <a:gd name="T89" fmla="*/ 229 h 2085"/>
                  <a:gd name="T90" fmla="*/ 2431 w 3007"/>
                  <a:gd name="T91" fmla="*/ 180 h 2085"/>
                  <a:gd name="T92" fmla="*/ 2827 w 3007"/>
                  <a:gd name="T93" fmla="*/ 125 h 2085"/>
                  <a:gd name="T94" fmla="*/ 3007 w 3007"/>
                  <a:gd name="T95" fmla="*/ 87 h 2085"/>
                  <a:gd name="T96" fmla="*/ 2909 w 3007"/>
                  <a:gd name="T97" fmla="*/ 22 h 2085"/>
                  <a:gd name="T98" fmla="*/ 2676 w 3007"/>
                  <a:gd name="T99" fmla="*/ 66 h 2085"/>
                  <a:gd name="T100" fmla="*/ 2285 w 3007"/>
                  <a:gd name="T101" fmla="*/ 120 h 2085"/>
                  <a:gd name="T102" fmla="*/ 2030 w 3007"/>
                  <a:gd name="T103" fmla="*/ 158 h 2085"/>
                  <a:gd name="T104" fmla="*/ 1791 w 3007"/>
                  <a:gd name="T105" fmla="*/ 202 h 2085"/>
                  <a:gd name="T106" fmla="*/ 1601 w 3007"/>
                  <a:gd name="T107" fmla="*/ 261 h 2085"/>
                  <a:gd name="T108" fmla="*/ 1471 w 3007"/>
                  <a:gd name="T109" fmla="*/ 338 h 2085"/>
                  <a:gd name="T110" fmla="*/ 1438 w 3007"/>
                  <a:gd name="T111" fmla="*/ 387 h 2085"/>
                  <a:gd name="T112" fmla="*/ 1427 w 3007"/>
                  <a:gd name="T113" fmla="*/ 441 h 208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007" h="2085">
                    <a:moveTo>
                      <a:pt x="1427" y="441"/>
                    </a:moveTo>
                    <a:lnTo>
                      <a:pt x="1433" y="474"/>
                    </a:lnTo>
                    <a:lnTo>
                      <a:pt x="1444" y="501"/>
                    </a:lnTo>
                    <a:lnTo>
                      <a:pt x="1460" y="528"/>
                    </a:lnTo>
                    <a:lnTo>
                      <a:pt x="1482" y="550"/>
                    </a:lnTo>
                    <a:lnTo>
                      <a:pt x="1541" y="593"/>
                    </a:lnTo>
                    <a:lnTo>
                      <a:pt x="1623" y="637"/>
                    </a:lnTo>
                    <a:lnTo>
                      <a:pt x="1715" y="670"/>
                    </a:lnTo>
                    <a:lnTo>
                      <a:pt x="1818" y="702"/>
                    </a:lnTo>
                    <a:lnTo>
                      <a:pt x="1927" y="735"/>
                    </a:lnTo>
                    <a:lnTo>
                      <a:pt x="2041" y="762"/>
                    </a:lnTo>
                    <a:lnTo>
                      <a:pt x="2155" y="789"/>
                    </a:lnTo>
                    <a:lnTo>
                      <a:pt x="2269" y="822"/>
                    </a:lnTo>
                    <a:lnTo>
                      <a:pt x="2372" y="849"/>
                    </a:lnTo>
                    <a:lnTo>
                      <a:pt x="2464" y="882"/>
                    </a:lnTo>
                    <a:lnTo>
                      <a:pt x="2551" y="920"/>
                    </a:lnTo>
                    <a:lnTo>
                      <a:pt x="2616" y="958"/>
                    </a:lnTo>
                    <a:lnTo>
                      <a:pt x="2638" y="980"/>
                    </a:lnTo>
                    <a:lnTo>
                      <a:pt x="2659" y="1007"/>
                    </a:lnTo>
                    <a:lnTo>
                      <a:pt x="2676" y="1029"/>
                    </a:lnTo>
                    <a:lnTo>
                      <a:pt x="2681" y="1056"/>
                    </a:lnTo>
                    <a:lnTo>
                      <a:pt x="2681" y="1083"/>
                    </a:lnTo>
                    <a:lnTo>
                      <a:pt x="2676" y="1105"/>
                    </a:lnTo>
                    <a:lnTo>
                      <a:pt x="2665" y="1127"/>
                    </a:lnTo>
                    <a:lnTo>
                      <a:pt x="2643" y="1149"/>
                    </a:lnTo>
                    <a:lnTo>
                      <a:pt x="2616" y="1170"/>
                    </a:lnTo>
                    <a:lnTo>
                      <a:pt x="2583" y="1187"/>
                    </a:lnTo>
                    <a:lnTo>
                      <a:pt x="2545" y="1208"/>
                    </a:lnTo>
                    <a:lnTo>
                      <a:pt x="2502" y="1225"/>
                    </a:lnTo>
                    <a:lnTo>
                      <a:pt x="2448" y="1241"/>
                    </a:lnTo>
                    <a:lnTo>
                      <a:pt x="2388" y="1257"/>
                    </a:lnTo>
                    <a:lnTo>
                      <a:pt x="2328" y="1274"/>
                    </a:lnTo>
                    <a:lnTo>
                      <a:pt x="2258" y="1290"/>
                    </a:lnTo>
                    <a:lnTo>
                      <a:pt x="2106" y="1328"/>
                    </a:lnTo>
                    <a:lnTo>
                      <a:pt x="1932" y="1372"/>
                    </a:lnTo>
                    <a:lnTo>
                      <a:pt x="1742" y="1421"/>
                    </a:lnTo>
                    <a:lnTo>
                      <a:pt x="1531" y="1475"/>
                    </a:lnTo>
                    <a:lnTo>
                      <a:pt x="1308" y="1540"/>
                    </a:lnTo>
                    <a:lnTo>
                      <a:pt x="1069" y="1617"/>
                    </a:lnTo>
                    <a:lnTo>
                      <a:pt x="820" y="1709"/>
                    </a:lnTo>
                    <a:lnTo>
                      <a:pt x="554" y="1818"/>
                    </a:lnTo>
                    <a:lnTo>
                      <a:pt x="282" y="1943"/>
                    </a:lnTo>
                    <a:lnTo>
                      <a:pt x="0" y="2085"/>
                    </a:lnTo>
                    <a:lnTo>
                      <a:pt x="152" y="2085"/>
                    </a:lnTo>
                    <a:lnTo>
                      <a:pt x="244" y="2074"/>
                    </a:lnTo>
                    <a:lnTo>
                      <a:pt x="386" y="1992"/>
                    </a:lnTo>
                    <a:lnTo>
                      <a:pt x="537" y="1910"/>
                    </a:lnTo>
                    <a:lnTo>
                      <a:pt x="700" y="1834"/>
                    </a:lnTo>
                    <a:lnTo>
                      <a:pt x="879" y="1763"/>
                    </a:lnTo>
                    <a:lnTo>
                      <a:pt x="1064" y="1693"/>
                    </a:lnTo>
                    <a:lnTo>
                      <a:pt x="1259" y="1622"/>
                    </a:lnTo>
                    <a:lnTo>
                      <a:pt x="1661" y="1497"/>
                    </a:lnTo>
                    <a:lnTo>
                      <a:pt x="1748" y="1470"/>
                    </a:lnTo>
                    <a:lnTo>
                      <a:pt x="1845" y="1442"/>
                    </a:lnTo>
                    <a:lnTo>
                      <a:pt x="2046" y="1393"/>
                    </a:lnTo>
                    <a:lnTo>
                      <a:pt x="2252" y="1339"/>
                    </a:lnTo>
                    <a:lnTo>
                      <a:pt x="2458" y="1285"/>
                    </a:lnTo>
                    <a:lnTo>
                      <a:pt x="2551" y="1263"/>
                    </a:lnTo>
                    <a:lnTo>
                      <a:pt x="2643" y="1236"/>
                    </a:lnTo>
                    <a:lnTo>
                      <a:pt x="2730" y="1214"/>
                    </a:lnTo>
                    <a:lnTo>
                      <a:pt x="2806" y="1192"/>
                    </a:lnTo>
                    <a:lnTo>
                      <a:pt x="2876" y="1170"/>
                    </a:lnTo>
                    <a:lnTo>
                      <a:pt x="2931" y="1149"/>
                    </a:lnTo>
                    <a:lnTo>
                      <a:pt x="2974" y="1132"/>
                    </a:lnTo>
                    <a:lnTo>
                      <a:pt x="3007" y="1116"/>
                    </a:lnTo>
                    <a:lnTo>
                      <a:pt x="3007" y="871"/>
                    </a:lnTo>
                    <a:lnTo>
                      <a:pt x="2941" y="860"/>
                    </a:lnTo>
                    <a:lnTo>
                      <a:pt x="2860" y="844"/>
                    </a:lnTo>
                    <a:lnTo>
                      <a:pt x="2773" y="827"/>
                    </a:lnTo>
                    <a:lnTo>
                      <a:pt x="2670" y="806"/>
                    </a:lnTo>
                    <a:lnTo>
                      <a:pt x="2567" y="784"/>
                    </a:lnTo>
                    <a:lnTo>
                      <a:pt x="2458" y="757"/>
                    </a:lnTo>
                    <a:lnTo>
                      <a:pt x="2241" y="702"/>
                    </a:lnTo>
                    <a:lnTo>
                      <a:pt x="2138" y="670"/>
                    </a:lnTo>
                    <a:lnTo>
                      <a:pt x="2046" y="637"/>
                    </a:lnTo>
                    <a:lnTo>
                      <a:pt x="1959" y="604"/>
                    </a:lnTo>
                    <a:lnTo>
                      <a:pt x="1883" y="566"/>
                    </a:lnTo>
                    <a:lnTo>
                      <a:pt x="1824" y="534"/>
                    </a:lnTo>
                    <a:lnTo>
                      <a:pt x="1780" y="495"/>
                    </a:lnTo>
                    <a:lnTo>
                      <a:pt x="1769" y="474"/>
                    </a:lnTo>
                    <a:lnTo>
                      <a:pt x="1758" y="457"/>
                    </a:lnTo>
                    <a:lnTo>
                      <a:pt x="1753" y="436"/>
                    </a:lnTo>
                    <a:lnTo>
                      <a:pt x="1758" y="419"/>
                    </a:lnTo>
                    <a:lnTo>
                      <a:pt x="1780" y="381"/>
                    </a:lnTo>
                    <a:lnTo>
                      <a:pt x="1813" y="343"/>
                    </a:lnTo>
                    <a:lnTo>
                      <a:pt x="1862" y="316"/>
                    </a:lnTo>
                    <a:lnTo>
                      <a:pt x="1921" y="289"/>
                    </a:lnTo>
                    <a:lnTo>
                      <a:pt x="1986" y="267"/>
                    </a:lnTo>
                    <a:lnTo>
                      <a:pt x="2062" y="245"/>
                    </a:lnTo>
                    <a:lnTo>
                      <a:pt x="2149" y="229"/>
                    </a:lnTo>
                    <a:lnTo>
                      <a:pt x="2236" y="213"/>
                    </a:lnTo>
                    <a:lnTo>
                      <a:pt x="2431" y="180"/>
                    </a:lnTo>
                    <a:lnTo>
                      <a:pt x="2627" y="158"/>
                    </a:lnTo>
                    <a:lnTo>
                      <a:pt x="2827" y="125"/>
                    </a:lnTo>
                    <a:lnTo>
                      <a:pt x="2920" y="109"/>
                    </a:lnTo>
                    <a:lnTo>
                      <a:pt x="3007" y="87"/>
                    </a:lnTo>
                    <a:lnTo>
                      <a:pt x="3007" y="0"/>
                    </a:lnTo>
                    <a:lnTo>
                      <a:pt x="2909" y="22"/>
                    </a:lnTo>
                    <a:lnTo>
                      <a:pt x="2795" y="44"/>
                    </a:lnTo>
                    <a:lnTo>
                      <a:pt x="2676" y="66"/>
                    </a:lnTo>
                    <a:lnTo>
                      <a:pt x="2551" y="82"/>
                    </a:lnTo>
                    <a:lnTo>
                      <a:pt x="2285" y="120"/>
                    </a:lnTo>
                    <a:lnTo>
                      <a:pt x="2155" y="136"/>
                    </a:lnTo>
                    <a:lnTo>
                      <a:pt x="2030" y="158"/>
                    </a:lnTo>
                    <a:lnTo>
                      <a:pt x="1905" y="174"/>
                    </a:lnTo>
                    <a:lnTo>
                      <a:pt x="1791" y="202"/>
                    </a:lnTo>
                    <a:lnTo>
                      <a:pt x="1688" y="229"/>
                    </a:lnTo>
                    <a:lnTo>
                      <a:pt x="1601" y="261"/>
                    </a:lnTo>
                    <a:lnTo>
                      <a:pt x="1525" y="300"/>
                    </a:lnTo>
                    <a:lnTo>
                      <a:pt x="1471" y="338"/>
                    </a:lnTo>
                    <a:lnTo>
                      <a:pt x="1455" y="359"/>
                    </a:lnTo>
                    <a:lnTo>
                      <a:pt x="1438" y="387"/>
                    </a:lnTo>
                    <a:lnTo>
                      <a:pt x="1427" y="414"/>
                    </a:lnTo>
                    <a:lnTo>
                      <a:pt x="1427" y="4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12" name="Freeform 8">
                <a:extLst>
                  <a:ext uri="{FF2B5EF4-FFF2-40B4-BE49-F238E27FC236}">
                    <a16:creationId xmlns:a16="http://schemas.microsoft.com/office/drawing/2014/main" id="{9906D9F0-92D4-497F-B366-65B16EDA6910}"/>
                  </a:ext>
                </a:extLst>
              </p:cNvPr>
              <p:cNvSpPr>
                <a:spLocks/>
              </p:cNvSpPr>
              <p:nvPr/>
            </p:nvSpPr>
            <p:spPr bwMode="hidden">
              <a:xfrm>
                <a:off x="4501" y="2317"/>
                <a:ext cx="1248" cy="539"/>
              </a:xfrm>
              <a:custGeom>
                <a:avLst/>
                <a:gdLst/>
                <a:ahLst/>
                <a:cxnLst>
                  <a:cxn ang="0">
                    <a:pos x="0" y="332"/>
                  </a:cxn>
                  <a:cxn ang="0">
                    <a:pos x="0" y="360"/>
                  </a:cxn>
                  <a:cxn ang="0">
                    <a:pos x="5" y="387"/>
                  </a:cxn>
                  <a:cxn ang="0">
                    <a:pos x="27" y="414"/>
                  </a:cxn>
                  <a:cxn ang="0">
                    <a:pos x="54" y="436"/>
                  </a:cxn>
                  <a:cxn ang="0">
                    <a:pos x="92" y="463"/>
                  </a:cxn>
                  <a:cxn ang="0">
                    <a:pos x="141" y="490"/>
                  </a:cxn>
                  <a:cxn ang="0">
                    <a:pos x="195" y="512"/>
                  </a:cxn>
                  <a:cxn ang="0">
                    <a:pos x="255" y="539"/>
                  </a:cxn>
                  <a:cxn ang="0">
                    <a:pos x="212" y="517"/>
                  </a:cxn>
                  <a:cxn ang="0">
                    <a:pos x="179" y="490"/>
                  </a:cxn>
                  <a:cxn ang="0">
                    <a:pos x="157" y="468"/>
                  </a:cxn>
                  <a:cxn ang="0">
                    <a:pos x="141" y="447"/>
                  </a:cxn>
                  <a:cxn ang="0">
                    <a:pos x="136" y="425"/>
                  </a:cxn>
                  <a:cxn ang="0">
                    <a:pos x="136" y="403"/>
                  </a:cxn>
                  <a:cxn ang="0">
                    <a:pos x="141" y="381"/>
                  </a:cxn>
                  <a:cxn ang="0">
                    <a:pos x="157" y="365"/>
                  </a:cxn>
                  <a:cxn ang="0">
                    <a:pos x="179" y="343"/>
                  </a:cxn>
                  <a:cxn ang="0">
                    <a:pos x="201" y="327"/>
                  </a:cxn>
                  <a:cxn ang="0">
                    <a:pos x="266" y="294"/>
                  </a:cxn>
                  <a:cxn ang="0">
                    <a:pos x="353" y="262"/>
                  </a:cxn>
                  <a:cxn ang="0">
                    <a:pos x="445" y="234"/>
                  </a:cxn>
                  <a:cxn ang="0">
                    <a:pos x="554" y="213"/>
                  </a:cxn>
                  <a:cxn ang="0">
                    <a:pos x="662" y="191"/>
                  </a:cxn>
                  <a:cxn ang="0">
                    <a:pos x="890" y="153"/>
                  </a:cxn>
                  <a:cxn ang="0">
                    <a:pos x="993" y="136"/>
                  </a:cxn>
                  <a:cxn ang="0">
                    <a:pos x="1091" y="120"/>
                  </a:cxn>
                  <a:cxn ang="0">
                    <a:pos x="1178" y="115"/>
                  </a:cxn>
                  <a:cxn ang="0">
                    <a:pos x="1248" y="104"/>
                  </a:cxn>
                  <a:cxn ang="0">
                    <a:pos x="1248" y="0"/>
                  </a:cxn>
                  <a:cxn ang="0">
                    <a:pos x="1161" y="22"/>
                  </a:cxn>
                  <a:cxn ang="0">
                    <a:pos x="1069" y="38"/>
                  </a:cxn>
                  <a:cxn ang="0">
                    <a:pos x="874" y="71"/>
                  </a:cxn>
                  <a:cxn ang="0">
                    <a:pos x="673" y="93"/>
                  </a:cxn>
                  <a:cxn ang="0">
                    <a:pos x="483" y="126"/>
                  </a:cxn>
                  <a:cxn ang="0">
                    <a:pos x="391" y="142"/>
                  </a:cxn>
                  <a:cxn ang="0">
                    <a:pos x="309" y="158"/>
                  </a:cxn>
                  <a:cxn ang="0">
                    <a:pos x="228" y="180"/>
                  </a:cxn>
                  <a:cxn ang="0">
                    <a:pos x="163" y="202"/>
                  </a:cxn>
                  <a:cxn ang="0">
                    <a:pos x="103" y="229"/>
                  </a:cxn>
                  <a:cxn ang="0">
                    <a:pos x="54" y="256"/>
                  </a:cxn>
                  <a:cxn ang="0">
                    <a:pos x="22" y="294"/>
                  </a:cxn>
                  <a:cxn ang="0">
                    <a:pos x="0" y="332"/>
                  </a:cxn>
                  <a:cxn ang="0">
                    <a:pos x="0" y="332"/>
                  </a:cxn>
                </a:cxnLst>
                <a:rect l="0" t="0" r="r" b="b"/>
                <a:pathLst>
                  <a:path w="1248" h="539">
                    <a:moveTo>
                      <a:pt x="0" y="332"/>
                    </a:moveTo>
                    <a:lnTo>
                      <a:pt x="0" y="360"/>
                    </a:lnTo>
                    <a:lnTo>
                      <a:pt x="5" y="387"/>
                    </a:lnTo>
                    <a:lnTo>
                      <a:pt x="27" y="414"/>
                    </a:lnTo>
                    <a:lnTo>
                      <a:pt x="54" y="436"/>
                    </a:lnTo>
                    <a:lnTo>
                      <a:pt x="92" y="463"/>
                    </a:lnTo>
                    <a:lnTo>
                      <a:pt x="141" y="490"/>
                    </a:lnTo>
                    <a:lnTo>
                      <a:pt x="195" y="512"/>
                    </a:lnTo>
                    <a:lnTo>
                      <a:pt x="255" y="539"/>
                    </a:lnTo>
                    <a:lnTo>
                      <a:pt x="212" y="517"/>
                    </a:lnTo>
                    <a:lnTo>
                      <a:pt x="179" y="490"/>
                    </a:lnTo>
                    <a:lnTo>
                      <a:pt x="157" y="468"/>
                    </a:lnTo>
                    <a:lnTo>
                      <a:pt x="141" y="447"/>
                    </a:lnTo>
                    <a:lnTo>
                      <a:pt x="136" y="425"/>
                    </a:lnTo>
                    <a:lnTo>
                      <a:pt x="136" y="403"/>
                    </a:lnTo>
                    <a:lnTo>
                      <a:pt x="141" y="381"/>
                    </a:lnTo>
                    <a:lnTo>
                      <a:pt x="157" y="365"/>
                    </a:lnTo>
                    <a:lnTo>
                      <a:pt x="179" y="343"/>
                    </a:lnTo>
                    <a:lnTo>
                      <a:pt x="201" y="327"/>
                    </a:lnTo>
                    <a:lnTo>
                      <a:pt x="266" y="294"/>
                    </a:lnTo>
                    <a:lnTo>
                      <a:pt x="353" y="262"/>
                    </a:lnTo>
                    <a:lnTo>
                      <a:pt x="445" y="234"/>
                    </a:lnTo>
                    <a:lnTo>
                      <a:pt x="554" y="213"/>
                    </a:lnTo>
                    <a:lnTo>
                      <a:pt x="662" y="191"/>
                    </a:lnTo>
                    <a:lnTo>
                      <a:pt x="890" y="153"/>
                    </a:lnTo>
                    <a:lnTo>
                      <a:pt x="993" y="136"/>
                    </a:lnTo>
                    <a:lnTo>
                      <a:pt x="1091" y="120"/>
                    </a:lnTo>
                    <a:lnTo>
                      <a:pt x="1178" y="115"/>
                    </a:lnTo>
                    <a:lnTo>
                      <a:pt x="1248" y="104"/>
                    </a:lnTo>
                    <a:lnTo>
                      <a:pt x="1248" y="0"/>
                    </a:lnTo>
                    <a:lnTo>
                      <a:pt x="1161" y="22"/>
                    </a:lnTo>
                    <a:lnTo>
                      <a:pt x="1069" y="38"/>
                    </a:lnTo>
                    <a:lnTo>
                      <a:pt x="874" y="71"/>
                    </a:lnTo>
                    <a:lnTo>
                      <a:pt x="673" y="93"/>
                    </a:lnTo>
                    <a:lnTo>
                      <a:pt x="483" y="126"/>
                    </a:lnTo>
                    <a:lnTo>
                      <a:pt x="391" y="142"/>
                    </a:lnTo>
                    <a:lnTo>
                      <a:pt x="309" y="158"/>
                    </a:lnTo>
                    <a:lnTo>
                      <a:pt x="228" y="180"/>
                    </a:lnTo>
                    <a:lnTo>
                      <a:pt x="163" y="202"/>
                    </a:lnTo>
                    <a:lnTo>
                      <a:pt x="103" y="229"/>
                    </a:lnTo>
                    <a:lnTo>
                      <a:pt x="54" y="256"/>
                    </a:lnTo>
                    <a:lnTo>
                      <a:pt x="22" y="294"/>
                    </a:lnTo>
                    <a:lnTo>
                      <a:pt x="0" y="332"/>
                    </a:lnTo>
                    <a:lnTo>
                      <a:pt x="0" y="332"/>
                    </a:lnTo>
                    <a:close/>
                  </a:path>
                </a:pathLst>
              </a:custGeom>
              <a:gradFill rotWithShape="0">
                <a:gsLst>
                  <a:gs pos="0">
                    <a:schemeClr val="bg1">
                      <a:gamma/>
                      <a:shade val="87843"/>
                      <a:invGamma/>
                    </a:schemeClr>
                  </a:gs>
                  <a:gs pos="100000">
                    <a:schemeClr val="bg1"/>
                  </a:gs>
                </a:gsLst>
                <a:lin ang="2700000" scaled="1"/>
              </a:gradFill>
              <a:ln w="9525">
                <a:noFill/>
                <a:round/>
                <a:headEnd/>
                <a:tailEnd/>
              </a:ln>
            </p:spPr>
            <p:txBody>
              <a:bodyPr/>
              <a:lstStyle/>
              <a:p>
                <a:pPr eaLnBrk="0" hangingPunct="0">
                  <a:defRPr/>
                </a:pPr>
                <a:endParaRPr lang="en-US" sz="1800">
                  <a:cs typeface="+mn-cs"/>
                </a:endParaRPr>
              </a:p>
            </p:txBody>
          </p:sp>
        </p:grpSp>
        <p:sp>
          <p:nvSpPr>
            <p:cNvPr id="6" name="Freeform 9">
              <a:extLst>
                <a:ext uri="{FF2B5EF4-FFF2-40B4-BE49-F238E27FC236}">
                  <a16:creationId xmlns:a16="http://schemas.microsoft.com/office/drawing/2014/main" id="{E0A1D59D-3EC9-49F8-9FA9-937D6F8BC9FB}"/>
                </a:ext>
              </a:extLst>
            </p:cNvPr>
            <p:cNvSpPr>
              <a:spLocks/>
            </p:cNvSpPr>
            <p:nvPr/>
          </p:nvSpPr>
          <p:spPr bwMode="hidden">
            <a:xfrm>
              <a:off x="3322" y="1341"/>
              <a:ext cx="1825" cy="1537"/>
            </a:xfrm>
            <a:custGeom>
              <a:avLst/>
              <a:gdLst/>
              <a:ahLst/>
              <a:cxnLst>
                <a:cxn ang="0">
                  <a:pos x="982" y="1061"/>
                </a:cxn>
                <a:cxn ang="0">
                  <a:pos x="1357" y="1012"/>
                </a:cxn>
                <a:cxn ang="0">
                  <a:pos x="1666" y="957"/>
                </a:cxn>
                <a:cxn ang="0">
                  <a:pos x="1916" y="897"/>
                </a:cxn>
                <a:cxn ang="0">
                  <a:pos x="2100" y="832"/>
                </a:cxn>
                <a:cxn ang="0">
                  <a:pos x="2220" y="756"/>
                </a:cxn>
                <a:cxn ang="0">
                  <a:pos x="2285" y="669"/>
                </a:cxn>
                <a:cxn ang="0">
                  <a:pos x="2290" y="560"/>
                </a:cxn>
                <a:cxn ang="0">
                  <a:pos x="2241" y="457"/>
                </a:cxn>
                <a:cxn ang="0">
                  <a:pos x="2144" y="364"/>
                </a:cxn>
                <a:cxn ang="0">
                  <a:pos x="2008" y="277"/>
                </a:cxn>
                <a:cxn ang="0">
                  <a:pos x="1769" y="157"/>
                </a:cxn>
                <a:cxn ang="0">
                  <a:pos x="1612" y="92"/>
                </a:cxn>
                <a:cxn ang="0">
                  <a:pos x="1476" y="43"/>
                </a:cxn>
                <a:cxn ang="0">
                  <a:pos x="1384" y="10"/>
                </a:cxn>
                <a:cxn ang="0">
                  <a:pos x="1346" y="0"/>
                </a:cxn>
                <a:cxn ang="0">
                  <a:pos x="1655" y="119"/>
                </a:cxn>
                <a:cxn ang="0">
                  <a:pos x="1948" y="255"/>
                </a:cxn>
                <a:cxn ang="0">
                  <a:pos x="2068" y="326"/>
                </a:cxn>
                <a:cxn ang="0">
                  <a:pos x="2171" y="402"/>
                </a:cxn>
                <a:cxn ang="0">
                  <a:pos x="2236" y="478"/>
                </a:cxn>
                <a:cxn ang="0">
                  <a:pos x="2263" y="560"/>
                </a:cxn>
                <a:cxn ang="0">
                  <a:pos x="2241" y="636"/>
                </a:cxn>
                <a:cxn ang="0">
                  <a:pos x="2171" y="702"/>
                </a:cxn>
                <a:cxn ang="0">
                  <a:pos x="2062" y="756"/>
                </a:cxn>
                <a:cxn ang="0">
                  <a:pos x="1921" y="800"/>
                </a:cxn>
                <a:cxn ang="0">
                  <a:pos x="1748" y="843"/>
                </a:cxn>
                <a:cxn ang="0">
                  <a:pos x="1351" y="908"/>
                </a:cxn>
                <a:cxn ang="0">
                  <a:pos x="923" y="968"/>
                </a:cxn>
                <a:cxn ang="0">
                  <a:pos x="521" y="1028"/>
                </a:cxn>
                <a:cxn ang="0">
                  <a:pos x="353" y="1066"/>
                </a:cxn>
                <a:cxn ang="0">
                  <a:pos x="206" y="1104"/>
                </a:cxn>
                <a:cxn ang="0">
                  <a:pos x="92" y="1148"/>
                </a:cxn>
                <a:cxn ang="0">
                  <a:pos x="22" y="1202"/>
                </a:cxn>
                <a:cxn ang="0">
                  <a:pos x="0" y="1262"/>
                </a:cxn>
                <a:cxn ang="0">
                  <a:pos x="27" y="1327"/>
                </a:cxn>
                <a:cxn ang="0">
                  <a:pos x="98" y="1382"/>
                </a:cxn>
                <a:cxn ang="0">
                  <a:pos x="196" y="1425"/>
                </a:cxn>
                <a:cxn ang="0">
                  <a:pos x="326" y="1469"/>
                </a:cxn>
                <a:cxn ang="0">
                  <a:pos x="217" y="1414"/>
                </a:cxn>
                <a:cxn ang="0">
                  <a:pos x="147" y="1360"/>
                </a:cxn>
                <a:cxn ang="0">
                  <a:pos x="120" y="1306"/>
                </a:cxn>
                <a:cxn ang="0">
                  <a:pos x="141" y="1257"/>
                </a:cxn>
                <a:cxn ang="0">
                  <a:pos x="212" y="1208"/>
                </a:cxn>
                <a:cxn ang="0">
                  <a:pos x="342" y="1164"/>
                </a:cxn>
                <a:cxn ang="0">
                  <a:pos x="527" y="1121"/>
                </a:cxn>
                <a:cxn ang="0">
                  <a:pos x="771" y="1088"/>
                </a:cxn>
              </a:cxnLst>
              <a:rect l="0" t="0" r="r" b="b"/>
              <a:pathLst>
                <a:path w="2296" h="1469">
                  <a:moveTo>
                    <a:pt x="771" y="1088"/>
                  </a:moveTo>
                  <a:lnTo>
                    <a:pt x="982" y="1061"/>
                  </a:lnTo>
                  <a:lnTo>
                    <a:pt x="1178" y="1034"/>
                  </a:lnTo>
                  <a:lnTo>
                    <a:pt x="1357" y="1012"/>
                  </a:lnTo>
                  <a:lnTo>
                    <a:pt x="1520" y="985"/>
                  </a:lnTo>
                  <a:lnTo>
                    <a:pt x="1666" y="957"/>
                  </a:lnTo>
                  <a:lnTo>
                    <a:pt x="1796" y="930"/>
                  </a:lnTo>
                  <a:lnTo>
                    <a:pt x="1916" y="897"/>
                  </a:lnTo>
                  <a:lnTo>
                    <a:pt x="2013" y="870"/>
                  </a:lnTo>
                  <a:lnTo>
                    <a:pt x="2100" y="832"/>
                  </a:lnTo>
                  <a:lnTo>
                    <a:pt x="2171" y="800"/>
                  </a:lnTo>
                  <a:lnTo>
                    <a:pt x="2220" y="756"/>
                  </a:lnTo>
                  <a:lnTo>
                    <a:pt x="2263" y="712"/>
                  </a:lnTo>
                  <a:lnTo>
                    <a:pt x="2285" y="669"/>
                  </a:lnTo>
                  <a:lnTo>
                    <a:pt x="2296" y="614"/>
                  </a:lnTo>
                  <a:lnTo>
                    <a:pt x="2290" y="560"/>
                  </a:lnTo>
                  <a:lnTo>
                    <a:pt x="2269" y="500"/>
                  </a:lnTo>
                  <a:lnTo>
                    <a:pt x="2241" y="457"/>
                  </a:lnTo>
                  <a:lnTo>
                    <a:pt x="2198" y="408"/>
                  </a:lnTo>
                  <a:lnTo>
                    <a:pt x="2144" y="364"/>
                  </a:lnTo>
                  <a:lnTo>
                    <a:pt x="2079" y="321"/>
                  </a:lnTo>
                  <a:lnTo>
                    <a:pt x="2008" y="277"/>
                  </a:lnTo>
                  <a:lnTo>
                    <a:pt x="1927" y="234"/>
                  </a:lnTo>
                  <a:lnTo>
                    <a:pt x="1769" y="157"/>
                  </a:lnTo>
                  <a:lnTo>
                    <a:pt x="1688" y="125"/>
                  </a:lnTo>
                  <a:lnTo>
                    <a:pt x="1612" y="92"/>
                  </a:lnTo>
                  <a:lnTo>
                    <a:pt x="1536" y="65"/>
                  </a:lnTo>
                  <a:lnTo>
                    <a:pt x="1476" y="43"/>
                  </a:lnTo>
                  <a:lnTo>
                    <a:pt x="1422" y="27"/>
                  </a:lnTo>
                  <a:lnTo>
                    <a:pt x="1384" y="10"/>
                  </a:lnTo>
                  <a:lnTo>
                    <a:pt x="1357" y="5"/>
                  </a:lnTo>
                  <a:lnTo>
                    <a:pt x="1346" y="0"/>
                  </a:lnTo>
                  <a:lnTo>
                    <a:pt x="1498" y="54"/>
                  </a:lnTo>
                  <a:lnTo>
                    <a:pt x="1655" y="119"/>
                  </a:lnTo>
                  <a:lnTo>
                    <a:pt x="1807" y="185"/>
                  </a:lnTo>
                  <a:lnTo>
                    <a:pt x="1948" y="255"/>
                  </a:lnTo>
                  <a:lnTo>
                    <a:pt x="2013" y="288"/>
                  </a:lnTo>
                  <a:lnTo>
                    <a:pt x="2068" y="326"/>
                  </a:lnTo>
                  <a:lnTo>
                    <a:pt x="2122" y="364"/>
                  </a:lnTo>
                  <a:lnTo>
                    <a:pt x="2171" y="402"/>
                  </a:lnTo>
                  <a:lnTo>
                    <a:pt x="2209" y="440"/>
                  </a:lnTo>
                  <a:lnTo>
                    <a:pt x="2236" y="478"/>
                  </a:lnTo>
                  <a:lnTo>
                    <a:pt x="2252" y="522"/>
                  </a:lnTo>
                  <a:lnTo>
                    <a:pt x="2263" y="560"/>
                  </a:lnTo>
                  <a:lnTo>
                    <a:pt x="2258" y="598"/>
                  </a:lnTo>
                  <a:lnTo>
                    <a:pt x="2241" y="636"/>
                  </a:lnTo>
                  <a:lnTo>
                    <a:pt x="2214" y="669"/>
                  </a:lnTo>
                  <a:lnTo>
                    <a:pt x="2171" y="702"/>
                  </a:lnTo>
                  <a:lnTo>
                    <a:pt x="2122" y="729"/>
                  </a:lnTo>
                  <a:lnTo>
                    <a:pt x="2062" y="756"/>
                  </a:lnTo>
                  <a:lnTo>
                    <a:pt x="1997" y="778"/>
                  </a:lnTo>
                  <a:lnTo>
                    <a:pt x="1921" y="800"/>
                  </a:lnTo>
                  <a:lnTo>
                    <a:pt x="1834" y="821"/>
                  </a:lnTo>
                  <a:lnTo>
                    <a:pt x="1748" y="843"/>
                  </a:lnTo>
                  <a:lnTo>
                    <a:pt x="1552" y="876"/>
                  </a:lnTo>
                  <a:lnTo>
                    <a:pt x="1351" y="908"/>
                  </a:lnTo>
                  <a:lnTo>
                    <a:pt x="1134" y="941"/>
                  </a:lnTo>
                  <a:lnTo>
                    <a:pt x="923" y="968"/>
                  </a:lnTo>
                  <a:lnTo>
                    <a:pt x="716" y="995"/>
                  </a:lnTo>
                  <a:lnTo>
                    <a:pt x="521" y="1028"/>
                  </a:lnTo>
                  <a:lnTo>
                    <a:pt x="434" y="1044"/>
                  </a:lnTo>
                  <a:lnTo>
                    <a:pt x="353" y="1066"/>
                  </a:lnTo>
                  <a:lnTo>
                    <a:pt x="277" y="1082"/>
                  </a:lnTo>
                  <a:lnTo>
                    <a:pt x="206" y="1104"/>
                  </a:lnTo>
                  <a:lnTo>
                    <a:pt x="147" y="1126"/>
                  </a:lnTo>
                  <a:lnTo>
                    <a:pt x="92" y="1148"/>
                  </a:lnTo>
                  <a:lnTo>
                    <a:pt x="54" y="1175"/>
                  </a:lnTo>
                  <a:lnTo>
                    <a:pt x="22" y="1202"/>
                  </a:lnTo>
                  <a:lnTo>
                    <a:pt x="6" y="1229"/>
                  </a:lnTo>
                  <a:lnTo>
                    <a:pt x="0" y="1262"/>
                  </a:lnTo>
                  <a:lnTo>
                    <a:pt x="11" y="1295"/>
                  </a:lnTo>
                  <a:lnTo>
                    <a:pt x="27" y="1327"/>
                  </a:lnTo>
                  <a:lnTo>
                    <a:pt x="54" y="1355"/>
                  </a:lnTo>
                  <a:lnTo>
                    <a:pt x="98" y="1382"/>
                  </a:lnTo>
                  <a:lnTo>
                    <a:pt x="141" y="1404"/>
                  </a:lnTo>
                  <a:lnTo>
                    <a:pt x="196" y="1425"/>
                  </a:lnTo>
                  <a:lnTo>
                    <a:pt x="261" y="1447"/>
                  </a:lnTo>
                  <a:lnTo>
                    <a:pt x="326" y="1469"/>
                  </a:lnTo>
                  <a:lnTo>
                    <a:pt x="266" y="1442"/>
                  </a:lnTo>
                  <a:lnTo>
                    <a:pt x="217" y="1414"/>
                  </a:lnTo>
                  <a:lnTo>
                    <a:pt x="174" y="1387"/>
                  </a:lnTo>
                  <a:lnTo>
                    <a:pt x="147" y="1360"/>
                  </a:lnTo>
                  <a:lnTo>
                    <a:pt x="125" y="1333"/>
                  </a:lnTo>
                  <a:lnTo>
                    <a:pt x="120" y="1306"/>
                  </a:lnTo>
                  <a:lnTo>
                    <a:pt x="125" y="1278"/>
                  </a:lnTo>
                  <a:lnTo>
                    <a:pt x="141" y="1257"/>
                  </a:lnTo>
                  <a:lnTo>
                    <a:pt x="174" y="1229"/>
                  </a:lnTo>
                  <a:lnTo>
                    <a:pt x="212" y="1208"/>
                  </a:lnTo>
                  <a:lnTo>
                    <a:pt x="272" y="1186"/>
                  </a:lnTo>
                  <a:lnTo>
                    <a:pt x="342" y="1164"/>
                  </a:lnTo>
                  <a:lnTo>
                    <a:pt x="423" y="1142"/>
                  </a:lnTo>
                  <a:lnTo>
                    <a:pt x="527" y="1121"/>
                  </a:lnTo>
                  <a:lnTo>
                    <a:pt x="641" y="1104"/>
                  </a:lnTo>
                  <a:lnTo>
                    <a:pt x="771" y="1088"/>
                  </a:lnTo>
                  <a:lnTo>
                    <a:pt x="771" y="1088"/>
                  </a:lnTo>
                  <a:close/>
                </a:path>
              </a:pathLst>
            </a:custGeom>
            <a:gradFill rotWithShape="0">
              <a:gsLst>
                <a:gs pos="0">
                  <a:schemeClr val="bg1">
                    <a:gamma/>
                    <a:shade val="84706"/>
                    <a:invGamma/>
                  </a:schemeClr>
                </a:gs>
                <a:gs pos="100000">
                  <a:schemeClr val="bg1"/>
                </a:gs>
              </a:gsLst>
              <a:lin ang="2700000" scaled="1"/>
            </a:gradFill>
            <a:ln w="9525">
              <a:noFill/>
              <a:round/>
              <a:headEnd/>
              <a:tailEnd/>
            </a:ln>
          </p:spPr>
          <p:txBody>
            <a:bodyPr/>
            <a:lstStyle/>
            <a:p>
              <a:pPr eaLnBrk="0" hangingPunct="0">
                <a:defRPr/>
              </a:pPr>
              <a:endParaRPr lang="en-US" sz="1800">
                <a:cs typeface="+mn-cs"/>
              </a:endParaRPr>
            </a:p>
          </p:txBody>
        </p:sp>
        <p:sp>
          <p:nvSpPr>
            <p:cNvPr id="7" name="Freeform 10">
              <a:extLst>
                <a:ext uri="{FF2B5EF4-FFF2-40B4-BE49-F238E27FC236}">
                  <a16:creationId xmlns:a16="http://schemas.microsoft.com/office/drawing/2014/main" id="{A9FA67C7-001B-4109-BB67-B18E4ACF9C26}"/>
                </a:ext>
              </a:extLst>
            </p:cNvPr>
            <p:cNvSpPr>
              <a:spLocks/>
            </p:cNvSpPr>
            <p:nvPr/>
          </p:nvSpPr>
          <p:spPr bwMode="hidden">
            <a:xfrm>
              <a:off x="0" y="0"/>
              <a:ext cx="5758" cy="1776"/>
            </a:xfrm>
            <a:custGeom>
              <a:avLst/>
              <a:gdLst>
                <a:gd name="T0" fmla="*/ 0 w 5740"/>
                <a:gd name="T1" fmla="*/ 0 h 1906"/>
                <a:gd name="T2" fmla="*/ 0 w 5740"/>
                <a:gd name="T3" fmla="*/ 1776 h 1906"/>
                <a:gd name="T4" fmla="*/ 5758 w 5740"/>
                <a:gd name="T5" fmla="*/ 1776 h 1906"/>
                <a:gd name="T6" fmla="*/ 5758 w 5740"/>
                <a:gd name="T7" fmla="*/ 0 h 1906"/>
                <a:gd name="T8" fmla="*/ 0 w 5740"/>
                <a:gd name="T9" fmla="*/ 0 h 1906"/>
                <a:gd name="T10" fmla="*/ 0 w 5740"/>
                <a:gd name="T11" fmla="*/ 0 h 190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740" h="1906">
                  <a:moveTo>
                    <a:pt x="0" y="0"/>
                  </a:moveTo>
                  <a:lnTo>
                    <a:pt x="0" y="1906"/>
                  </a:lnTo>
                  <a:lnTo>
                    <a:pt x="5740" y="1906"/>
                  </a:lnTo>
                  <a:lnTo>
                    <a:pt x="5740" y="0"/>
                  </a:lnTo>
                  <a:lnTo>
                    <a:pt x="0" y="0"/>
                  </a:lnTo>
                  <a:close/>
                </a:path>
              </a:pathLst>
            </a:custGeom>
            <a:gradFill rotWithShape="0">
              <a:gsLst>
                <a:gs pos="0">
                  <a:schemeClr val="bg2"/>
                </a:gs>
                <a:gs pos="100000">
                  <a:schemeClr val="bg1"/>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grpSp>
      <p:graphicFrame>
        <p:nvGraphicFramePr>
          <p:cNvPr id="13" name="Object 16">
            <a:extLst>
              <a:ext uri="{FF2B5EF4-FFF2-40B4-BE49-F238E27FC236}">
                <a16:creationId xmlns:a16="http://schemas.microsoft.com/office/drawing/2014/main" id="{EE756A83-ED28-40CF-B50B-937041A2FFE1}"/>
              </a:ext>
            </a:extLst>
          </p:cNvPr>
          <p:cNvGraphicFramePr>
            <a:graphicFrameLocks noChangeAspect="1"/>
          </p:cNvGraphicFramePr>
          <p:nvPr/>
        </p:nvGraphicFramePr>
        <p:xfrm>
          <a:off x="7000876" y="5800727"/>
          <a:ext cx="2143125" cy="1057275"/>
        </p:xfrm>
        <a:graphic>
          <a:graphicData uri="http://schemas.openxmlformats.org/presentationml/2006/ole">
            <mc:AlternateContent xmlns:mc="http://schemas.openxmlformats.org/markup-compatibility/2006">
              <mc:Choice xmlns:v="urn:schemas-microsoft-com:vml" Requires="v">
                <p:oleObj spid="_x0000_s4098" name="Bitmap Image" r:id="rId3" imgW="2142857" imgH="1057423" progId="Paint.Picture">
                  <p:embed/>
                </p:oleObj>
              </mc:Choice>
              <mc:Fallback>
                <p:oleObj name="Bitmap Image" r:id="rId3" imgW="2142857" imgH="1057423" progId="Paint.Picture">
                  <p:embed/>
                  <p:pic>
                    <p:nvPicPr>
                      <p:cNvPr id="13" name="Object 16">
                        <a:extLst>
                          <a:ext uri="{FF2B5EF4-FFF2-40B4-BE49-F238E27FC236}">
                            <a16:creationId xmlns:a16="http://schemas.microsoft.com/office/drawing/2014/main" id="{EE756A83-ED28-40CF-B50B-937041A2FFE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000876" y="5800727"/>
                        <a:ext cx="2143125" cy="1057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5131" name="Rectangle 11"/>
          <p:cNvSpPr>
            <a:spLocks noGrp="1" noChangeArrowheads="1"/>
          </p:cNvSpPr>
          <p:nvPr>
            <p:ph type="ctrTitle" sz="quarter"/>
          </p:nvPr>
        </p:nvSpPr>
        <p:spPr>
          <a:xfrm>
            <a:off x="685800" y="1736727"/>
            <a:ext cx="7772400" cy="1920875"/>
          </a:xfrm>
        </p:spPr>
        <p:txBody>
          <a:bodyPr/>
          <a:lstStyle>
            <a:lvl1pPr>
              <a:defRPr sz="6000"/>
            </a:lvl1pPr>
          </a:lstStyle>
          <a:p>
            <a:r>
              <a:rPr lang="en-US"/>
              <a:t>Click to edit Master title style</a:t>
            </a:r>
          </a:p>
        </p:txBody>
      </p:sp>
      <p:sp>
        <p:nvSpPr>
          <p:cNvPr id="5132" name="Rectangle 12"/>
          <p:cNvSpPr>
            <a:spLocks noGrp="1" noChangeArrowheads="1"/>
          </p:cNvSpPr>
          <p:nvPr>
            <p:ph type="subTitle" sz="quarter" idx="1"/>
          </p:nvPr>
        </p:nvSpPr>
        <p:spPr>
          <a:xfrm>
            <a:off x="1371600" y="3886200"/>
            <a:ext cx="6400800" cy="1752600"/>
          </a:xfrm>
        </p:spPr>
        <p:txBody>
          <a:bodyPr/>
          <a:lstStyle>
            <a:lvl1pPr marL="0" indent="0" algn="ctr">
              <a:buFont typeface="Wingdings" pitchFamily="2" charset="2"/>
              <a:buNone/>
              <a:defRPr/>
            </a:lvl1pPr>
          </a:lstStyle>
          <a:p>
            <a:r>
              <a:rPr lang="en-US"/>
              <a:t>Click to edit Master subtitle style</a:t>
            </a:r>
          </a:p>
        </p:txBody>
      </p:sp>
      <p:sp>
        <p:nvSpPr>
          <p:cNvPr id="14" name="Date Placeholder 13">
            <a:extLst>
              <a:ext uri="{FF2B5EF4-FFF2-40B4-BE49-F238E27FC236}">
                <a16:creationId xmlns:a16="http://schemas.microsoft.com/office/drawing/2014/main" id="{D3245AFB-027E-4B27-B448-581339975821}"/>
              </a:ext>
            </a:extLst>
          </p:cNvPr>
          <p:cNvSpPr>
            <a:spLocks noGrp="1" noChangeArrowheads="1"/>
          </p:cNvSpPr>
          <p:nvPr>
            <p:ph type="dt" sz="quarter" idx="10"/>
          </p:nvPr>
        </p:nvSpPr>
        <p:spPr>
          <a:xfrm>
            <a:off x="457200" y="6248400"/>
            <a:ext cx="2133600" cy="476250"/>
          </a:xfrm>
        </p:spPr>
        <p:txBody>
          <a:bodyPr/>
          <a:lstStyle>
            <a:lvl1pPr>
              <a:defRPr/>
            </a:lvl1pPr>
          </a:lstStyle>
          <a:p>
            <a:pPr>
              <a:defRPr/>
            </a:pPr>
            <a:endParaRPr lang="en-US"/>
          </a:p>
        </p:txBody>
      </p:sp>
      <p:sp>
        <p:nvSpPr>
          <p:cNvPr id="15" name="Footer Placeholder 14">
            <a:extLst>
              <a:ext uri="{FF2B5EF4-FFF2-40B4-BE49-F238E27FC236}">
                <a16:creationId xmlns:a16="http://schemas.microsoft.com/office/drawing/2014/main" id="{F6A4D5A7-D42B-4997-A536-66D3D98DC1DC}"/>
              </a:ext>
            </a:extLst>
          </p:cNvPr>
          <p:cNvSpPr>
            <a:spLocks noGrp="1" noChangeArrowheads="1"/>
          </p:cNvSpPr>
          <p:nvPr>
            <p:ph type="ftr" sz="quarter" idx="11"/>
          </p:nvPr>
        </p:nvSpPr>
        <p:spPr>
          <a:xfrm>
            <a:off x="3124200" y="6251575"/>
            <a:ext cx="2895600" cy="476250"/>
          </a:xfrm>
        </p:spPr>
        <p:txBody>
          <a:bodyPr/>
          <a:lstStyle>
            <a:lvl1pPr>
              <a:defRPr/>
            </a:lvl1pPr>
          </a:lstStyle>
          <a:p>
            <a:pPr>
              <a:defRPr/>
            </a:pPr>
            <a:endParaRPr lang="en-US"/>
          </a:p>
        </p:txBody>
      </p:sp>
      <p:sp>
        <p:nvSpPr>
          <p:cNvPr id="16" name="Slide Number Placeholder 15">
            <a:extLst>
              <a:ext uri="{FF2B5EF4-FFF2-40B4-BE49-F238E27FC236}">
                <a16:creationId xmlns:a16="http://schemas.microsoft.com/office/drawing/2014/main" id="{CCEF4572-3BA3-433D-8E49-85A3113C78AD}"/>
              </a:ext>
            </a:extLst>
          </p:cNvPr>
          <p:cNvSpPr>
            <a:spLocks noGrp="1" noChangeArrowheads="1"/>
          </p:cNvSpPr>
          <p:nvPr>
            <p:ph type="sldNum" sz="quarter" idx="12"/>
          </p:nvPr>
        </p:nvSpPr>
        <p:spPr>
          <a:xfrm>
            <a:off x="6553200" y="6254750"/>
            <a:ext cx="2133600" cy="476250"/>
          </a:xfrm>
        </p:spPr>
        <p:txBody>
          <a:bodyPr/>
          <a:lstStyle>
            <a:lvl1pPr>
              <a:defRPr/>
            </a:lvl1pPr>
          </a:lstStyle>
          <a:p>
            <a:fld id="{363451F6-ACA7-4330-91E3-02D7908EB1FD}" type="slidenum">
              <a:rPr lang="en-US" altLang="en-US"/>
              <a:pPr/>
              <a:t>‹#›</a:t>
            </a:fld>
            <a:endParaRPr lang="en-US" altLang="en-US"/>
          </a:p>
        </p:txBody>
      </p:sp>
    </p:spTree>
    <p:extLst>
      <p:ext uri="{BB962C8B-B14F-4D97-AF65-F5344CB8AC3E}">
        <p14:creationId xmlns:p14="http://schemas.microsoft.com/office/powerpoint/2010/main" val="3309564536"/>
      </p:ext>
    </p:extLst>
  </p:cSld>
  <p:clrMapOvr>
    <a:masterClrMapping/>
  </p:clrMapOvr>
  <p:transition>
    <p:random/>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490A233-2772-451C-BD04-C532C3658C43}"/>
              </a:ext>
            </a:extLst>
          </p:cNvPr>
          <p:cNvSpPr/>
          <p:nvPr/>
        </p:nvSpPr>
        <p:spPr>
          <a:xfrm>
            <a:off x="0" y="0"/>
            <a:ext cx="9144000" cy="6858000"/>
          </a:xfrm>
          <a:prstGeom prst="rect">
            <a:avLst/>
          </a:prstGeom>
          <a:solidFill>
            <a:srgbClr val="FFFFFF"/>
          </a:solidFill>
          <a:ln w="12700" cap="flat" cmpd="sng"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a:solidFill>
                <a:prstClr val="white"/>
              </a:solidFill>
            </a:endParaRPr>
          </a:p>
        </p:txBody>
      </p:sp>
      <p:sp useBgFill="1">
        <p:nvSpPr>
          <p:cNvPr id="5" name="Rounded Rectangle 10">
            <a:extLst>
              <a:ext uri="{FF2B5EF4-FFF2-40B4-BE49-F238E27FC236}">
                <a16:creationId xmlns:a16="http://schemas.microsoft.com/office/drawing/2014/main" id="{2D4C8540-F524-4DB5-9EE2-4DCCF4263DF1}"/>
              </a:ext>
            </a:extLst>
          </p:cNvPr>
          <p:cNvSpPr/>
          <p:nvPr/>
        </p:nvSpPr>
        <p:spPr>
          <a:xfrm>
            <a:off x="65313" y="69757"/>
            <a:ext cx="9013372" cy="6692201"/>
          </a:xfrm>
          <a:prstGeom prst="roundRect">
            <a:avLst>
              <a:gd name="adj" fmla="val 4929"/>
            </a:avLst>
          </a:prstGeom>
          <a:ln w="6350" cap="sq" cmpd="sng" algn="ctr">
            <a:solidFill>
              <a:schemeClr val="tx1">
                <a:alpha val="100000"/>
              </a:schemeClr>
            </a:solidFill>
            <a:prstDash val="solid"/>
          </a:ln>
          <a:effectLst/>
        </p:spPr>
        <p:style>
          <a:lnRef idx="3">
            <a:schemeClr val="lt1"/>
          </a:lnRef>
          <a:fillRef idx="1003">
            <a:schemeClr val="lt1"/>
          </a:fillRef>
          <a:effectRef idx="1">
            <a:schemeClr val="accent1"/>
          </a:effectRef>
          <a:fontRef idx="minor">
            <a:schemeClr val="lt1"/>
          </a:fontRef>
        </p:style>
        <p:txBody>
          <a:bodyPr anchor="ctr"/>
          <a:lstStyle/>
          <a:p>
            <a:pPr algn="ctr" fontAlgn="auto">
              <a:spcBef>
                <a:spcPts val="0"/>
              </a:spcBef>
              <a:spcAft>
                <a:spcPts val="0"/>
              </a:spcAft>
              <a:defRPr/>
            </a:pPr>
            <a:endParaRPr lang="en-US" sz="1800">
              <a:solidFill>
                <a:prstClr val="white"/>
              </a:solidFill>
            </a:endParaRPr>
          </a:p>
        </p:txBody>
      </p:sp>
      <p:sp>
        <p:nvSpPr>
          <p:cNvPr id="6" name="Rectangle 5">
            <a:extLst>
              <a:ext uri="{FF2B5EF4-FFF2-40B4-BE49-F238E27FC236}">
                <a16:creationId xmlns:a16="http://schemas.microsoft.com/office/drawing/2014/main" id="{79750CF1-34C3-4EBA-88DF-0808EEFDD969}"/>
              </a:ext>
            </a:extLst>
          </p:cNvPr>
          <p:cNvSpPr/>
          <p:nvPr/>
        </p:nvSpPr>
        <p:spPr>
          <a:xfrm flipV="1">
            <a:off x="69851" y="2376490"/>
            <a:ext cx="9013825" cy="92075"/>
          </a:xfrm>
          <a:prstGeom prst="rect">
            <a:avLst/>
          </a:prstGeom>
          <a:solidFill>
            <a:schemeClr val="accent1">
              <a:alpha val="10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sz="1800">
              <a:solidFill>
                <a:prstClr val="white"/>
              </a:solidFill>
            </a:endParaRPr>
          </a:p>
        </p:txBody>
      </p:sp>
      <p:sp>
        <p:nvSpPr>
          <p:cNvPr id="7" name="Rectangle 6">
            <a:extLst>
              <a:ext uri="{FF2B5EF4-FFF2-40B4-BE49-F238E27FC236}">
                <a16:creationId xmlns:a16="http://schemas.microsoft.com/office/drawing/2014/main" id="{85C548D2-CD6D-4AC8-8EA0-9CA8C6A85AD8}"/>
              </a:ext>
            </a:extLst>
          </p:cNvPr>
          <p:cNvSpPr/>
          <p:nvPr/>
        </p:nvSpPr>
        <p:spPr>
          <a:xfrm>
            <a:off x="69851" y="2341565"/>
            <a:ext cx="9013825" cy="46037"/>
          </a:xfrm>
          <a:prstGeom prst="rect">
            <a:avLst/>
          </a:prstGeom>
          <a:solidFill>
            <a:schemeClr val="accent1">
              <a:tint val="6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sz="1800">
              <a:solidFill>
                <a:prstClr val="white"/>
              </a:solidFill>
            </a:endParaRPr>
          </a:p>
        </p:txBody>
      </p:sp>
      <p:sp>
        <p:nvSpPr>
          <p:cNvPr id="8" name="Rectangle 7">
            <a:extLst>
              <a:ext uri="{FF2B5EF4-FFF2-40B4-BE49-F238E27FC236}">
                <a16:creationId xmlns:a16="http://schemas.microsoft.com/office/drawing/2014/main" id="{69B27370-3D53-4E4A-AE4F-4AF7E6DA9D9C}"/>
              </a:ext>
            </a:extLst>
          </p:cNvPr>
          <p:cNvSpPr/>
          <p:nvPr/>
        </p:nvSpPr>
        <p:spPr>
          <a:xfrm>
            <a:off x="68264" y="2468565"/>
            <a:ext cx="9015412" cy="46037"/>
          </a:xfrm>
          <a:prstGeom prst="rect">
            <a:avLst/>
          </a:prstGeom>
          <a:solidFill>
            <a:schemeClr val="accent5"/>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sz="1800">
              <a:solidFill>
                <a:prstClr val="white"/>
              </a:solidFill>
            </a:endParaRPr>
          </a:p>
        </p:txBody>
      </p:sp>
      <p:pic>
        <p:nvPicPr>
          <p:cNvPr id="9" name="Picture 16">
            <a:extLst>
              <a:ext uri="{FF2B5EF4-FFF2-40B4-BE49-F238E27FC236}">
                <a16:creationId xmlns:a16="http://schemas.microsoft.com/office/drawing/2014/main" id="{2291040B-4159-4C82-ACF1-4688C44D078C}"/>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950076" y="5526090"/>
            <a:ext cx="1987550" cy="1152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722313" y="952504"/>
            <a:ext cx="7772400" cy="1362075"/>
          </a:xfrm>
        </p:spPr>
        <p:txBody>
          <a:bodyPr/>
          <a:lstStyle>
            <a:lvl1pPr algn="l">
              <a:buNone/>
              <a:defRPr sz="4000" b="0" cap="none"/>
            </a:lvl1pPr>
          </a:lstStyle>
          <a:p>
            <a:r>
              <a:rPr lang="en-US"/>
              <a:t>Click to edit Master title style</a:t>
            </a:r>
          </a:p>
        </p:txBody>
      </p:sp>
      <p:sp>
        <p:nvSpPr>
          <p:cNvPr id="3" name="Text Placeholder 2"/>
          <p:cNvSpPr>
            <a:spLocks noGrp="1"/>
          </p:cNvSpPr>
          <p:nvPr>
            <p:ph type="body" idx="1"/>
          </p:nvPr>
        </p:nvSpPr>
        <p:spPr>
          <a:xfrm>
            <a:off x="722313" y="2547938"/>
            <a:ext cx="7772400" cy="1338262"/>
          </a:xfrm>
        </p:spPr>
        <p:txBody>
          <a:bodyPr/>
          <a:lstStyle>
            <a:lvl1pPr marL="0" indent="0">
              <a:buNone/>
              <a:defRPr sz="2400">
                <a:solidFill>
                  <a:schemeClr val="tx1">
                    <a:tint val="75000"/>
                  </a:schemeClr>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a:r>
              <a:rPr lang="en-US"/>
              <a:t>Click to edit Master text styles</a:t>
            </a:r>
          </a:p>
        </p:txBody>
      </p:sp>
      <p:sp>
        <p:nvSpPr>
          <p:cNvPr id="10" name="Date Placeholder 3">
            <a:extLst>
              <a:ext uri="{FF2B5EF4-FFF2-40B4-BE49-F238E27FC236}">
                <a16:creationId xmlns:a16="http://schemas.microsoft.com/office/drawing/2014/main" id="{D0C977FE-8B36-4733-9E85-6FAD540BF3EF}"/>
              </a:ext>
            </a:extLst>
          </p:cNvPr>
          <p:cNvSpPr>
            <a:spLocks noGrp="1"/>
          </p:cNvSpPr>
          <p:nvPr>
            <p:ph type="dt" sz="half" idx="10"/>
          </p:nvPr>
        </p:nvSpPr>
        <p:spPr/>
        <p:txBody>
          <a:bodyPr/>
          <a:lstStyle>
            <a:lvl1pPr>
              <a:defRPr/>
            </a:lvl1pPr>
          </a:lstStyle>
          <a:p>
            <a:pPr>
              <a:defRPr/>
            </a:pPr>
            <a:fld id="{C2347440-1C08-46CA-8D4C-C63EB660812C}" type="datetimeFigureOut">
              <a:rPr lang="en-US"/>
              <a:pPr>
                <a:defRPr/>
              </a:pPr>
              <a:t>1/30/2020</a:t>
            </a:fld>
            <a:endParaRPr lang="en-US"/>
          </a:p>
        </p:txBody>
      </p:sp>
      <p:sp>
        <p:nvSpPr>
          <p:cNvPr id="11" name="Footer Placeholder 4">
            <a:extLst>
              <a:ext uri="{FF2B5EF4-FFF2-40B4-BE49-F238E27FC236}">
                <a16:creationId xmlns:a16="http://schemas.microsoft.com/office/drawing/2014/main" id="{A214D7CE-DAEA-462C-87FD-C261ED473E57}"/>
              </a:ext>
            </a:extLst>
          </p:cNvPr>
          <p:cNvSpPr>
            <a:spLocks noGrp="1"/>
          </p:cNvSpPr>
          <p:nvPr>
            <p:ph type="ftr" sz="quarter" idx="11"/>
          </p:nvPr>
        </p:nvSpPr>
        <p:spPr>
          <a:xfrm>
            <a:off x="800100" y="6172200"/>
            <a:ext cx="4000500" cy="457200"/>
          </a:xfrm>
        </p:spPr>
        <p:txBody>
          <a:bodyPr/>
          <a:lstStyle>
            <a:lvl1pPr>
              <a:defRPr/>
            </a:lvl1pPr>
          </a:lstStyle>
          <a:p>
            <a:pPr>
              <a:defRPr/>
            </a:pPr>
            <a:endParaRPr lang="en-US"/>
          </a:p>
        </p:txBody>
      </p:sp>
      <p:sp>
        <p:nvSpPr>
          <p:cNvPr id="12" name="Slide Number Placeholder 5">
            <a:extLst>
              <a:ext uri="{FF2B5EF4-FFF2-40B4-BE49-F238E27FC236}">
                <a16:creationId xmlns:a16="http://schemas.microsoft.com/office/drawing/2014/main" id="{86A49A70-89C0-44EE-BF4C-FCDDC4D2C226}"/>
              </a:ext>
            </a:extLst>
          </p:cNvPr>
          <p:cNvSpPr>
            <a:spLocks noGrp="1"/>
          </p:cNvSpPr>
          <p:nvPr>
            <p:ph type="sldNum" sz="quarter" idx="12"/>
          </p:nvPr>
        </p:nvSpPr>
        <p:spPr>
          <a:xfrm>
            <a:off x="146050" y="6208713"/>
            <a:ext cx="457200" cy="457200"/>
          </a:xfrm>
        </p:spPr>
        <p:txBody>
          <a:bodyPr/>
          <a:lstStyle>
            <a:lvl1pPr>
              <a:defRPr/>
            </a:lvl1pPr>
          </a:lstStyle>
          <a:p>
            <a:fld id="{5ECCEA21-FC20-4547-B4A0-446FDB51152E}" type="slidenum">
              <a:rPr lang="en-US" altLang="en-US"/>
              <a:pPr/>
              <a:t>‹#›</a:t>
            </a:fld>
            <a:endParaRPr lang="en-US" altLang="en-US"/>
          </a:p>
        </p:txBody>
      </p:sp>
    </p:spTree>
    <p:extLst>
      <p:ext uri="{BB962C8B-B14F-4D97-AF65-F5344CB8AC3E}">
        <p14:creationId xmlns:p14="http://schemas.microsoft.com/office/powerpoint/2010/main" val="947043920"/>
      </p:ext>
    </p:extLst>
  </p:cSld>
  <p:clrMapOvr>
    <a:overrideClrMapping bg1="lt1" tx1="dk1" bg2="lt2" tx2="dk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2">
            <a:extLst>
              <a:ext uri="{FF2B5EF4-FFF2-40B4-BE49-F238E27FC236}">
                <a16:creationId xmlns:a16="http://schemas.microsoft.com/office/drawing/2014/main" id="{611AD3B7-4AD6-4A1D-8EEA-62BC62B43160}"/>
              </a:ext>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3">
            <a:extLst>
              <a:ext uri="{FF2B5EF4-FFF2-40B4-BE49-F238E27FC236}">
                <a16:creationId xmlns:a16="http://schemas.microsoft.com/office/drawing/2014/main" id="{F474FE7B-7153-4230-ABAC-C068CA03C671}"/>
              </a:ext>
            </a:extLst>
          </p:cNvPr>
          <p:cNvSpPr>
            <a:spLocks noGrp="1" noChangeArrowheads="1"/>
          </p:cNvSpPr>
          <p:nvPr>
            <p:ph type="sldNum" sz="quarter" idx="11"/>
          </p:nvPr>
        </p:nvSpPr>
        <p:spPr>
          <a:ln/>
        </p:spPr>
        <p:txBody>
          <a:bodyPr/>
          <a:lstStyle>
            <a:lvl1pPr>
              <a:defRPr/>
            </a:lvl1pPr>
          </a:lstStyle>
          <a:p>
            <a:fld id="{0E84452D-E232-4005-8FE1-1F4C4A2F51C3}" type="slidenum">
              <a:rPr lang="en-US" altLang="en-US"/>
              <a:pPr/>
              <a:t>‹#›</a:t>
            </a:fld>
            <a:endParaRPr lang="en-US" altLang="en-US"/>
          </a:p>
        </p:txBody>
      </p:sp>
      <p:sp>
        <p:nvSpPr>
          <p:cNvPr id="6" name="Rectangle 14">
            <a:extLst>
              <a:ext uri="{FF2B5EF4-FFF2-40B4-BE49-F238E27FC236}">
                <a16:creationId xmlns:a16="http://schemas.microsoft.com/office/drawing/2014/main" id="{0E9DE523-3E25-498F-A560-093D0D51B65C}"/>
              </a:ext>
            </a:extLst>
          </p:cNvPr>
          <p:cNvSpPr>
            <a:spLocks noGrp="1" noChangeArrowheads="1"/>
          </p:cNvSpPr>
          <p:nvPr>
            <p:ph type="ftr" sz="quarter" idx="12"/>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498950849"/>
      </p:ext>
    </p:extLst>
  </p:cSld>
  <p:clrMapOvr>
    <a:masterClrMapping/>
  </p:clrMapOvr>
  <p:transition>
    <p:random/>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2">
            <a:extLst>
              <a:ext uri="{FF2B5EF4-FFF2-40B4-BE49-F238E27FC236}">
                <a16:creationId xmlns:a16="http://schemas.microsoft.com/office/drawing/2014/main" id="{618892BD-9CD9-4A42-97A1-3D60495A5AA7}"/>
              </a:ext>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3">
            <a:extLst>
              <a:ext uri="{FF2B5EF4-FFF2-40B4-BE49-F238E27FC236}">
                <a16:creationId xmlns:a16="http://schemas.microsoft.com/office/drawing/2014/main" id="{8CDE8C80-A92C-42FC-92D8-1D5B1C3F7399}"/>
              </a:ext>
            </a:extLst>
          </p:cNvPr>
          <p:cNvSpPr>
            <a:spLocks noGrp="1" noChangeArrowheads="1"/>
          </p:cNvSpPr>
          <p:nvPr>
            <p:ph type="sldNum" sz="quarter" idx="11"/>
          </p:nvPr>
        </p:nvSpPr>
        <p:spPr>
          <a:ln/>
        </p:spPr>
        <p:txBody>
          <a:bodyPr/>
          <a:lstStyle>
            <a:lvl1pPr>
              <a:defRPr/>
            </a:lvl1pPr>
          </a:lstStyle>
          <a:p>
            <a:fld id="{DDA650A0-9D66-45FC-A018-0F137464A56E}" type="slidenum">
              <a:rPr lang="en-US" altLang="en-US"/>
              <a:pPr/>
              <a:t>‹#›</a:t>
            </a:fld>
            <a:endParaRPr lang="en-US" altLang="en-US"/>
          </a:p>
        </p:txBody>
      </p:sp>
      <p:sp>
        <p:nvSpPr>
          <p:cNvPr id="6" name="Rectangle 14">
            <a:extLst>
              <a:ext uri="{FF2B5EF4-FFF2-40B4-BE49-F238E27FC236}">
                <a16:creationId xmlns:a16="http://schemas.microsoft.com/office/drawing/2014/main" id="{5C00A732-9655-4365-83E5-0EC21E297908}"/>
              </a:ext>
            </a:extLst>
          </p:cNvPr>
          <p:cNvSpPr>
            <a:spLocks noGrp="1" noChangeArrowheads="1"/>
          </p:cNvSpPr>
          <p:nvPr>
            <p:ph type="ftr" sz="quarter" idx="12"/>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4004876944"/>
      </p:ext>
    </p:extLst>
  </p:cSld>
  <p:clrMapOvr>
    <a:masterClrMapping/>
  </p:clrMapOvr>
  <p:transition>
    <p:random/>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2"/>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2"/>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2">
            <a:extLst>
              <a:ext uri="{FF2B5EF4-FFF2-40B4-BE49-F238E27FC236}">
                <a16:creationId xmlns:a16="http://schemas.microsoft.com/office/drawing/2014/main" id="{1A07F5AD-4B38-4C28-9452-64583DC8EE78}"/>
              </a:ext>
            </a:extLst>
          </p:cNvPr>
          <p:cNvSpPr>
            <a:spLocks noGrp="1" noChangeArrowheads="1"/>
          </p:cNvSpPr>
          <p:nvPr>
            <p:ph type="dt" sz="half" idx="10"/>
          </p:nvPr>
        </p:nvSpPr>
        <p:spPr>
          <a:ln/>
        </p:spPr>
        <p:txBody>
          <a:bodyPr/>
          <a:lstStyle>
            <a:lvl1pPr>
              <a:defRPr/>
            </a:lvl1pPr>
          </a:lstStyle>
          <a:p>
            <a:pPr>
              <a:defRPr/>
            </a:pPr>
            <a:endParaRPr lang="en-US"/>
          </a:p>
        </p:txBody>
      </p:sp>
      <p:sp>
        <p:nvSpPr>
          <p:cNvPr id="6" name="Rectangle 3">
            <a:extLst>
              <a:ext uri="{FF2B5EF4-FFF2-40B4-BE49-F238E27FC236}">
                <a16:creationId xmlns:a16="http://schemas.microsoft.com/office/drawing/2014/main" id="{F4CD0FD4-9FF2-4C04-9D7B-BF62B549580D}"/>
              </a:ext>
            </a:extLst>
          </p:cNvPr>
          <p:cNvSpPr>
            <a:spLocks noGrp="1" noChangeArrowheads="1"/>
          </p:cNvSpPr>
          <p:nvPr>
            <p:ph type="sldNum" sz="quarter" idx="11"/>
          </p:nvPr>
        </p:nvSpPr>
        <p:spPr>
          <a:ln/>
        </p:spPr>
        <p:txBody>
          <a:bodyPr/>
          <a:lstStyle>
            <a:lvl1pPr>
              <a:defRPr/>
            </a:lvl1pPr>
          </a:lstStyle>
          <a:p>
            <a:fld id="{B2251525-316A-4238-99FC-2A0C4E3D651E}" type="slidenum">
              <a:rPr lang="en-US" altLang="en-US"/>
              <a:pPr/>
              <a:t>‹#›</a:t>
            </a:fld>
            <a:endParaRPr lang="en-US" altLang="en-US"/>
          </a:p>
        </p:txBody>
      </p:sp>
      <p:sp>
        <p:nvSpPr>
          <p:cNvPr id="7" name="Rectangle 14">
            <a:extLst>
              <a:ext uri="{FF2B5EF4-FFF2-40B4-BE49-F238E27FC236}">
                <a16:creationId xmlns:a16="http://schemas.microsoft.com/office/drawing/2014/main" id="{1A13FD0F-FC0D-4D92-B7D3-7EC738144EBA}"/>
              </a:ext>
            </a:extLst>
          </p:cNvPr>
          <p:cNvSpPr>
            <a:spLocks noGrp="1" noChangeArrowheads="1"/>
          </p:cNvSpPr>
          <p:nvPr>
            <p:ph type="ftr" sz="quarter" idx="12"/>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2014928346"/>
      </p:ext>
    </p:extLst>
  </p:cSld>
  <p:clrMapOvr>
    <a:masterClrMapping/>
  </p:clrMapOvr>
  <p:transition>
    <p:random/>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2">
            <a:extLst>
              <a:ext uri="{FF2B5EF4-FFF2-40B4-BE49-F238E27FC236}">
                <a16:creationId xmlns:a16="http://schemas.microsoft.com/office/drawing/2014/main" id="{BD3DB643-B52D-42BA-8A79-6182B6A20915}"/>
              </a:ext>
            </a:extLst>
          </p:cNvPr>
          <p:cNvSpPr>
            <a:spLocks noGrp="1" noChangeArrowheads="1"/>
          </p:cNvSpPr>
          <p:nvPr>
            <p:ph type="dt" sz="half" idx="10"/>
          </p:nvPr>
        </p:nvSpPr>
        <p:spPr>
          <a:ln/>
        </p:spPr>
        <p:txBody>
          <a:bodyPr/>
          <a:lstStyle>
            <a:lvl1pPr>
              <a:defRPr/>
            </a:lvl1pPr>
          </a:lstStyle>
          <a:p>
            <a:pPr>
              <a:defRPr/>
            </a:pPr>
            <a:endParaRPr lang="en-US"/>
          </a:p>
        </p:txBody>
      </p:sp>
      <p:sp>
        <p:nvSpPr>
          <p:cNvPr id="8" name="Rectangle 3">
            <a:extLst>
              <a:ext uri="{FF2B5EF4-FFF2-40B4-BE49-F238E27FC236}">
                <a16:creationId xmlns:a16="http://schemas.microsoft.com/office/drawing/2014/main" id="{FEB01FBF-87C6-4C50-B540-593CE2285135}"/>
              </a:ext>
            </a:extLst>
          </p:cNvPr>
          <p:cNvSpPr>
            <a:spLocks noGrp="1" noChangeArrowheads="1"/>
          </p:cNvSpPr>
          <p:nvPr>
            <p:ph type="sldNum" sz="quarter" idx="11"/>
          </p:nvPr>
        </p:nvSpPr>
        <p:spPr>
          <a:ln/>
        </p:spPr>
        <p:txBody>
          <a:bodyPr/>
          <a:lstStyle>
            <a:lvl1pPr>
              <a:defRPr/>
            </a:lvl1pPr>
          </a:lstStyle>
          <a:p>
            <a:fld id="{02E796EB-EFA5-4BCB-8D50-024C3E1D06BF}" type="slidenum">
              <a:rPr lang="en-US" altLang="en-US"/>
              <a:pPr/>
              <a:t>‹#›</a:t>
            </a:fld>
            <a:endParaRPr lang="en-US" altLang="en-US"/>
          </a:p>
        </p:txBody>
      </p:sp>
      <p:sp>
        <p:nvSpPr>
          <p:cNvPr id="9" name="Rectangle 14">
            <a:extLst>
              <a:ext uri="{FF2B5EF4-FFF2-40B4-BE49-F238E27FC236}">
                <a16:creationId xmlns:a16="http://schemas.microsoft.com/office/drawing/2014/main" id="{5FBEFEF0-C7A7-46C0-AFFB-8A5FD6FF948F}"/>
              </a:ext>
            </a:extLst>
          </p:cNvPr>
          <p:cNvSpPr>
            <a:spLocks noGrp="1" noChangeArrowheads="1"/>
          </p:cNvSpPr>
          <p:nvPr>
            <p:ph type="ftr" sz="quarter" idx="12"/>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500050059"/>
      </p:ext>
    </p:extLst>
  </p:cSld>
  <p:clrMapOvr>
    <a:masterClrMapping/>
  </p:clrMapOvr>
  <p:transition>
    <p:random/>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2">
            <a:extLst>
              <a:ext uri="{FF2B5EF4-FFF2-40B4-BE49-F238E27FC236}">
                <a16:creationId xmlns:a16="http://schemas.microsoft.com/office/drawing/2014/main" id="{B3A78732-D00F-4652-AF86-5A5A4C1EE6D2}"/>
              </a:ext>
            </a:extLst>
          </p:cNvPr>
          <p:cNvSpPr>
            <a:spLocks noGrp="1" noChangeArrowheads="1"/>
          </p:cNvSpPr>
          <p:nvPr>
            <p:ph type="dt" sz="half" idx="10"/>
          </p:nvPr>
        </p:nvSpPr>
        <p:spPr>
          <a:ln/>
        </p:spPr>
        <p:txBody>
          <a:bodyPr/>
          <a:lstStyle>
            <a:lvl1pPr>
              <a:defRPr/>
            </a:lvl1pPr>
          </a:lstStyle>
          <a:p>
            <a:pPr>
              <a:defRPr/>
            </a:pPr>
            <a:endParaRPr lang="en-US"/>
          </a:p>
        </p:txBody>
      </p:sp>
      <p:sp>
        <p:nvSpPr>
          <p:cNvPr id="4" name="Rectangle 3">
            <a:extLst>
              <a:ext uri="{FF2B5EF4-FFF2-40B4-BE49-F238E27FC236}">
                <a16:creationId xmlns:a16="http://schemas.microsoft.com/office/drawing/2014/main" id="{797AFE84-B5CA-434C-BC86-F659AD22423D}"/>
              </a:ext>
            </a:extLst>
          </p:cNvPr>
          <p:cNvSpPr>
            <a:spLocks noGrp="1" noChangeArrowheads="1"/>
          </p:cNvSpPr>
          <p:nvPr>
            <p:ph type="sldNum" sz="quarter" idx="11"/>
          </p:nvPr>
        </p:nvSpPr>
        <p:spPr>
          <a:ln/>
        </p:spPr>
        <p:txBody>
          <a:bodyPr/>
          <a:lstStyle>
            <a:lvl1pPr>
              <a:defRPr/>
            </a:lvl1pPr>
          </a:lstStyle>
          <a:p>
            <a:fld id="{2BE78B3B-8178-4A34-A8E0-59FC1522ABC4}" type="slidenum">
              <a:rPr lang="en-US" altLang="en-US"/>
              <a:pPr/>
              <a:t>‹#›</a:t>
            </a:fld>
            <a:endParaRPr lang="en-US" altLang="en-US"/>
          </a:p>
        </p:txBody>
      </p:sp>
      <p:sp>
        <p:nvSpPr>
          <p:cNvPr id="5" name="Rectangle 14">
            <a:extLst>
              <a:ext uri="{FF2B5EF4-FFF2-40B4-BE49-F238E27FC236}">
                <a16:creationId xmlns:a16="http://schemas.microsoft.com/office/drawing/2014/main" id="{20861A60-F87D-4368-B405-86749F486E32}"/>
              </a:ext>
            </a:extLst>
          </p:cNvPr>
          <p:cNvSpPr>
            <a:spLocks noGrp="1" noChangeArrowheads="1"/>
          </p:cNvSpPr>
          <p:nvPr>
            <p:ph type="ftr" sz="quarter" idx="12"/>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1646689931"/>
      </p:ext>
    </p:extLst>
  </p:cSld>
  <p:clrMapOvr>
    <a:masterClrMapping/>
  </p:clrMapOvr>
  <p:transition>
    <p:random/>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2">
            <a:extLst>
              <a:ext uri="{FF2B5EF4-FFF2-40B4-BE49-F238E27FC236}">
                <a16:creationId xmlns:a16="http://schemas.microsoft.com/office/drawing/2014/main" id="{08582DCD-1E78-4609-BDD3-10BEFCCCBD2B}"/>
              </a:ext>
            </a:extLst>
          </p:cNvPr>
          <p:cNvSpPr>
            <a:spLocks noGrp="1" noChangeArrowheads="1"/>
          </p:cNvSpPr>
          <p:nvPr>
            <p:ph type="dt" sz="half" idx="10"/>
          </p:nvPr>
        </p:nvSpPr>
        <p:spPr>
          <a:ln/>
        </p:spPr>
        <p:txBody>
          <a:bodyPr/>
          <a:lstStyle>
            <a:lvl1pPr>
              <a:defRPr/>
            </a:lvl1pPr>
          </a:lstStyle>
          <a:p>
            <a:pPr>
              <a:defRPr/>
            </a:pPr>
            <a:endParaRPr lang="en-US"/>
          </a:p>
        </p:txBody>
      </p:sp>
      <p:sp>
        <p:nvSpPr>
          <p:cNvPr id="3" name="Rectangle 3">
            <a:extLst>
              <a:ext uri="{FF2B5EF4-FFF2-40B4-BE49-F238E27FC236}">
                <a16:creationId xmlns:a16="http://schemas.microsoft.com/office/drawing/2014/main" id="{AF841F9C-9420-4F1E-B326-D6BF9C1D6668}"/>
              </a:ext>
            </a:extLst>
          </p:cNvPr>
          <p:cNvSpPr>
            <a:spLocks noGrp="1" noChangeArrowheads="1"/>
          </p:cNvSpPr>
          <p:nvPr>
            <p:ph type="sldNum" sz="quarter" idx="11"/>
          </p:nvPr>
        </p:nvSpPr>
        <p:spPr>
          <a:ln/>
        </p:spPr>
        <p:txBody>
          <a:bodyPr/>
          <a:lstStyle>
            <a:lvl1pPr>
              <a:defRPr/>
            </a:lvl1pPr>
          </a:lstStyle>
          <a:p>
            <a:fld id="{D79916AB-7582-4831-AFF2-5E4607C10263}" type="slidenum">
              <a:rPr lang="en-US" altLang="en-US"/>
              <a:pPr/>
              <a:t>‹#›</a:t>
            </a:fld>
            <a:endParaRPr lang="en-US" altLang="en-US"/>
          </a:p>
        </p:txBody>
      </p:sp>
      <p:sp>
        <p:nvSpPr>
          <p:cNvPr id="4" name="Rectangle 14">
            <a:extLst>
              <a:ext uri="{FF2B5EF4-FFF2-40B4-BE49-F238E27FC236}">
                <a16:creationId xmlns:a16="http://schemas.microsoft.com/office/drawing/2014/main" id="{FBEDD7F8-6ACB-417F-B206-96B8305B60DA}"/>
              </a:ext>
            </a:extLst>
          </p:cNvPr>
          <p:cNvSpPr>
            <a:spLocks noGrp="1" noChangeArrowheads="1"/>
          </p:cNvSpPr>
          <p:nvPr>
            <p:ph type="ftr" sz="quarter" idx="12"/>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433360635"/>
      </p:ext>
    </p:extLst>
  </p:cSld>
  <p:clrMapOvr>
    <a:masterClrMapping/>
  </p:clrMapOvr>
  <p:transition>
    <p:random/>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1"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2">
            <a:extLst>
              <a:ext uri="{FF2B5EF4-FFF2-40B4-BE49-F238E27FC236}">
                <a16:creationId xmlns:a16="http://schemas.microsoft.com/office/drawing/2014/main" id="{6FE29CEE-2CB3-411E-9977-32F355434CA8}"/>
              </a:ext>
            </a:extLst>
          </p:cNvPr>
          <p:cNvSpPr>
            <a:spLocks noGrp="1" noChangeArrowheads="1"/>
          </p:cNvSpPr>
          <p:nvPr>
            <p:ph type="dt" sz="half" idx="10"/>
          </p:nvPr>
        </p:nvSpPr>
        <p:spPr>
          <a:ln/>
        </p:spPr>
        <p:txBody>
          <a:bodyPr/>
          <a:lstStyle>
            <a:lvl1pPr>
              <a:defRPr/>
            </a:lvl1pPr>
          </a:lstStyle>
          <a:p>
            <a:pPr>
              <a:defRPr/>
            </a:pPr>
            <a:endParaRPr lang="en-US"/>
          </a:p>
        </p:txBody>
      </p:sp>
      <p:sp>
        <p:nvSpPr>
          <p:cNvPr id="6" name="Rectangle 3">
            <a:extLst>
              <a:ext uri="{FF2B5EF4-FFF2-40B4-BE49-F238E27FC236}">
                <a16:creationId xmlns:a16="http://schemas.microsoft.com/office/drawing/2014/main" id="{BD555ED7-E346-4670-B1C3-D726A5043D66}"/>
              </a:ext>
            </a:extLst>
          </p:cNvPr>
          <p:cNvSpPr>
            <a:spLocks noGrp="1" noChangeArrowheads="1"/>
          </p:cNvSpPr>
          <p:nvPr>
            <p:ph type="sldNum" sz="quarter" idx="11"/>
          </p:nvPr>
        </p:nvSpPr>
        <p:spPr>
          <a:ln/>
        </p:spPr>
        <p:txBody>
          <a:bodyPr/>
          <a:lstStyle>
            <a:lvl1pPr>
              <a:defRPr/>
            </a:lvl1pPr>
          </a:lstStyle>
          <a:p>
            <a:fld id="{96652463-00B7-4313-ADB9-5376B57C86BF}" type="slidenum">
              <a:rPr lang="en-US" altLang="en-US"/>
              <a:pPr/>
              <a:t>‹#›</a:t>
            </a:fld>
            <a:endParaRPr lang="en-US" altLang="en-US"/>
          </a:p>
        </p:txBody>
      </p:sp>
      <p:sp>
        <p:nvSpPr>
          <p:cNvPr id="7" name="Rectangle 14">
            <a:extLst>
              <a:ext uri="{FF2B5EF4-FFF2-40B4-BE49-F238E27FC236}">
                <a16:creationId xmlns:a16="http://schemas.microsoft.com/office/drawing/2014/main" id="{CA8F9E4E-0EBD-47D6-BAD4-E09E6A2AFC07}"/>
              </a:ext>
            </a:extLst>
          </p:cNvPr>
          <p:cNvSpPr>
            <a:spLocks noGrp="1" noChangeArrowheads="1"/>
          </p:cNvSpPr>
          <p:nvPr>
            <p:ph type="ftr" sz="quarter" idx="12"/>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972146517"/>
      </p:ext>
    </p:extLst>
  </p:cSld>
  <p:clrMapOvr>
    <a:masterClrMapping/>
  </p:clrMapOvr>
  <p:transition>
    <p:random/>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2">
            <a:extLst>
              <a:ext uri="{FF2B5EF4-FFF2-40B4-BE49-F238E27FC236}">
                <a16:creationId xmlns:a16="http://schemas.microsoft.com/office/drawing/2014/main" id="{FE43B81F-34EF-4483-A356-8D8A55CC23AA}"/>
              </a:ext>
            </a:extLst>
          </p:cNvPr>
          <p:cNvSpPr>
            <a:spLocks noGrp="1" noChangeArrowheads="1"/>
          </p:cNvSpPr>
          <p:nvPr>
            <p:ph type="dt" sz="half" idx="10"/>
          </p:nvPr>
        </p:nvSpPr>
        <p:spPr>
          <a:ln/>
        </p:spPr>
        <p:txBody>
          <a:bodyPr/>
          <a:lstStyle>
            <a:lvl1pPr>
              <a:defRPr/>
            </a:lvl1pPr>
          </a:lstStyle>
          <a:p>
            <a:pPr>
              <a:defRPr/>
            </a:pPr>
            <a:endParaRPr lang="en-US"/>
          </a:p>
        </p:txBody>
      </p:sp>
      <p:sp>
        <p:nvSpPr>
          <p:cNvPr id="6" name="Rectangle 3">
            <a:extLst>
              <a:ext uri="{FF2B5EF4-FFF2-40B4-BE49-F238E27FC236}">
                <a16:creationId xmlns:a16="http://schemas.microsoft.com/office/drawing/2014/main" id="{47DEDD23-ADB1-446C-B8CF-FF88748FF09E}"/>
              </a:ext>
            </a:extLst>
          </p:cNvPr>
          <p:cNvSpPr>
            <a:spLocks noGrp="1" noChangeArrowheads="1"/>
          </p:cNvSpPr>
          <p:nvPr>
            <p:ph type="sldNum" sz="quarter" idx="11"/>
          </p:nvPr>
        </p:nvSpPr>
        <p:spPr>
          <a:ln/>
        </p:spPr>
        <p:txBody>
          <a:bodyPr/>
          <a:lstStyle>
            <a:lvl1pPr>
              <a:defRPr/>
            </a:lvl1pPr>
          </a:lstStyle>
          <a:p>
            <a:fld id="{93C23DA0-69E9-478B-8F36-95EAC1ED9B25}" type="slidenum">
              <a:rPr lang="en-US" altLang="en-US"/>
              <a:pPr/>
              <a:t>‹#›</a:t>
            </a:fld>
            <a:endParaRPr lang="en-US" altLang="en-US"/>
          </a:p>
        </p:txBody>
      </p:sp>
      <p:sp>
        <p:nvSpPr>
          <p:cNvPr id="7" name="Rectangle 14">
            <a:extLst>
              <a:ext uri="{FF2B5EF4-FFF2-40B4-BE49-F238E27FC236}">
                <a16:creationId xmlns:a16="http://schemas.microsoft.com/office/drawing/2014/main" id="{0382AD37-E9C7-4741-8684-7F965EFAA588}"/>
              </a:ext>
            </a:extLst>
          </p:cNvPr>
          <p:cNvSpPr>
            <a:spLocks noGrp="1" noChangeArrowheads="1"/>
          </p:cNvSpPr>
          <p:nvPr>
            <p:ph type="ftr" sz="quarter" idx="12"/>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4114253656"/>
      </p:ext>
    </p:extLst>
  </p:cSld>
  <p:clrMapOvr>
    <a:masterClrMapping/>
  </p:clrMapOvr>
  <p:transition>
    <p:random/>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2">
            <a:extLst>
              <a:ext uri="{FF2B5EF4-FFF2-40B4-BE49-F238E27FC236}">
                <a16:creationId xmlns:a16="http://schemas.microsoft.com/office/drawing/2014/main" id="{E7DFE81B-14E1-47E6-AA01-22A378E5316E}"/>
              </a:ext>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3">
            <a:extLst>
              <a:ext uri="{FF2B5EF4-FFF2-40B4-BE49-F238E27FC236}">
                <a16:creationId xmlns:a16="http://schemas.microsoft.com/office/drawing/2014/main" id="{DA83CD6A-1D93-4E84-A289-8EE981652248}"/>
              </a:ext>
            </a:extLst>
          </p:cNvPr>
          <p:cNvSpPr>
            <a:spLocks noGrp="1" noChangeArrowheads="1"/>
          </p:cNvSpPr>
          <p:nvPr>
            <p:ph type="sldNum" sz="quarter" idx="11"/>
          </p:nvPr>
        </p:nvSpPr>
        <p:spPr>
          <a:ln/>
        </p:spPr>
        <p:txBody>
          <a:bodyPr/>
          <a:lstStyle>
            <a:lvl1pPr>
              <a:defRPr/>
            </a:lvl1pPr>
          </a:lstStyle>
          <a:p>
            <a:fld id="{2DA8C15F-C309-49B9-B4B1-25BAD05EEE11}" type="slidenum">
              <a:rPr lang="en-US" altLang="en-US"/>
              <a:pPr/>
              <a:t>‹#›</a:t>
            </a:fld>
            <a:endParaRPr lang="en-US" altLang="en-US"/>
          </a:p>
        </p:txBody>
      </p:sp>
      <p:sp>
        <p:nvSpPr>
          <p:cNvPr id="6" name="Rectangle 14">
            <a:extLst>
              <a:ext uri="{FF2B5EF4-FFF2-40B4-BE49-F238E27FC236}">
                <a16:creationId xmlns:a16="http://schemas.microsoft.com/office/drawing/2014/main" id="{08F0F171-6D3A-4948-A228-D0E54562B15D}"/>
              </a:ext>
            </a:extLst>
          </p:cNvPr>
          <p:cNvSpPr>
            <a:spLocks noGrp="1" noChangeArrowheads="1"/>
          </p:cNvSpPr>
          <p:nvPr>
            <p:ph type="ftr" sz="quarter" idx="12"/>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2010091665"/>
      </p:ext>
    </p:extLst>
  </p:cSld>
  <p:clrMapOvr>
    <a:masterClrMapping/>
  </p:clrMapOvr>
  <p:transition>
    <p:random/>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40"/>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40"/>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2">
            <a:extLst>
              <a:ext uri="{FF2B5EF4-FFF2-40B4-BE49-F238E27FC236}">
                <a16:creationId xmlns:a16="http://schemas.microsoft.com/office/drawing/2014/main" id="{E3F9F282-3497-42A6-AC58-E595FB08C3C7}"/>
              </a:ext>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3">
            <a:extLst>
              <a:ext uri="{FF2B5EF4-FFF2-40B4-BE49-F238E27FC236}">
                <a16:creationId xmlns:a16="http://schemas.microsoft.com/office/drawing/2014/main" id="{8EC183D4-E5B3-4BA9-B750-F22249F2A97F}"/>
              </a:ext>
            </a:extLst>
          </p:cNvPr>
          <p:cNvSpPr>
            <a:spLocks noGrp="1" noChangeArrowheads="1"/>
          </p:cNvSpPr>
          <p:nvPr>
            <p:ph type="sldNum" sz="quarter" idx="11"/>
          </p:nvPr>
        </p:nvSpPr>
        <p:spPr>
          <a:ln/>
        </p:spPr>
        <p:txBody>
          <a:bodyPr/>
          <a:lstStyle>
            <a:lvl1pPr>
              <a:defRPr/>
            </a:lvl1pPr>
          </a:lstStyle>
          <a:p>
            <a:fld id="{94974B99-A15E-4625-94CB-4B8C7063C158}" type="slidenum">
              <a:rPr lang="en-US" altLang="en-US"/>
              <a:pPr/>
              <a:t>‹#›</a:t>
            </a:fld>
            <a:endParaRPr lang="en-US" altLang="en-US"/>
          </a:p>
        </p:txBody>
      </p:sp>
      <p:sp>
        <p:nvSpPr>
          <p:cNvPr id="6" name="Rectangle 14">
            <a:extLst>
              <a:ext uri="{FF2B5EF4-FFF2-40B4-BE49-F238E27FC236}">
                <a16:creationId xmlns:a16="http://schemas.microsoft.com/office/drawing/2014/main" id="{4C59AF30-3059-44DE-A58C-4A5C08CC7505}"/>
              </a:ext>
            </a:extLst>
          </p:cNvPr>
          <p:cNvSpPr>
            <a:spLocks noGrp="1" noChangeArrowheads="1"/>
          </p:cNvSpPr>
          <p:nvPr>
            <p:ph type="ftr" sz="quarter" idx="12"/>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116610831"/>
      </p:ext>
    </p:extLst>
  </p:cSld>
  <p:clrMapOvr>
    <a:masterClrMapping/>
  </p:clrMapOvr>
  <p:transition>
    <p:random/>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9" name="Content Placeholder 8"/>
          <p:cNvSpPr>
            <a:spLocks noGrp="1"/>
          </p:cNvSpPr>
          <p:nvPr>
            <p:ph sz="quarter" idx="1"/>
          </p:nvPr>
        </p:nvSpPr>
        <p:spPr>
          <a:xfrm>
            <a:off x="914400" y="1447800"/>
            <a:ext cx="3749040"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0"/>
          <p:cNvSpPr>
            <a:spLocks noGrp="1"/>
          </p:cNvSpPr>
          <p:nvPr>
            <p:ph sz="quarter" idx="2"/>
          </p:nvPr>
        </p:nvSpPr>
        <p:spPr>
          <a:xfrm>
            <a:off x="4933950" y="1447800"/>
            <a:ext cx="3749040"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13">
            <a:extLst>
              <a:ext uri="{FF2B5EF4-FFF2-40B4-BE49-F238E27FC236}">
                <a16:creationId xmlns:a16="http://schemas.microsoft.com/office/drawing/2014/main" id="{BD9D2986-BD6F-4281-90BB-D39A686B483A}"/>
              </a:ext>
            </a:extLst>
          </p:cNvPr>
          <p:cNvSpPr>
            <a:spLocks noGrp="1"/>
          </p:cNvSpPr>
          <p:nvPr>
            <p:ph type="dt" sz="half" idx="10"/>
          </p:nvPr>
        </p:nvSpPr>
        <p:spPr/>
        <p:txBody>
          <a:bodyPr/>
          <a:lstStyle>
            <a:lvl1pPr>
              <a:defRPr/>
            </a:lvl1pPr>
          </a:lstStyle>
          <a:p>
            <a:pPr>
              <a:defRPr/>
            </a:pPr>
            <a:fld id="{3F777B4A-24A2-49CC-B6BC-46A0F7E41B4F}" type="datetimeFigureOut">
              <a:rPr lang="en-US"/>
              <a:pPr>
                <a:defRPr/>
              </a:pPr>
              <a:t>1/30/2020</a:t>
            </a:fld>
            <a:endParaRPr lang="en-US"/>
          </a:p>
        </p:txBody>
      </p:sp>
      <p:sp>
        <p:nvSpPr>
          <p:cNvPr id="6" name="Footer Placeholder 2">
            <a:extLst>
              <a:ext uri="{FF2B5EF4-FFF2-40B4-BE49-F238E27FC236}">
                <a16:creationId xmlns:a16="http://schemas.microsoft.com/office/drawing/2014/main" id="{F027E78D-C0FF-4522-9B2F-4F5B959E118D}"/>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22">
            <a:extLst>
              <a:ext uri="{FF2B5EF4-FFF2-40B4-BE49-F238E27FC236}">
                <a16:creationId xmlns:a16="http://schemas.microsoft.com/office/drawing/2014/main" id="{094702C3-9411-46A3-8BF7-087876AA7C26}"/>
              </a:ext>
            </a:extLst>
          </p:cNvPr>
          <p:cNvSpPr>
            <a:spLocks noGrp="1"/>
          </p:cNvSpPr>
          <p:nvPr>
            <p:ph type="sldNum" sz="quarter" idx="12"/>
          </p:nvPr>
        </p:nvSpPr>
        <p:spPr/>
        <p:txBody>
          <a:bodyPr/>
          <a:lstStyle>
            <a:lvl1pPr>
              <a:defRPr/>
            </a:lvl1pPr>
          </a:lstStyle>
          <a:p>
            <a:fld id="{9636827D-C4B0-4DD3-A2DC-4E4C0CACFC41}" type="slidenum">
              <a:rPr lang="en-US" altLang="en-US"/>
              <a:pPr/>
              <a:t>‹#›</a:t>
            </a:fld>
            <a:endParaRPr lang="en-US" altLang="en-US"/>
          </a:p>
        </p:txBody>
      </p:sp>
    </p:spTree>
    <p:extLst>
      <p:ext uri="{BB962C8B-B14F-4D97-AF65-F5344CB8AC3E}">
        <p14:creationId xmlns:p14="http://schemas.microsoft.com/office/powerpoint/2010/main" val="70361323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p>
            <a:r>
              <a:rPr lang="en-US"/>
              <a:t>Click to edit Master title style</a:t>
            </a:r>
          </a:p>
        </p:txBody>
      </p:sp>
      <p:sp>
        <p:nvSpPr>
          <p:cNvPr id="3" name="Chart Placeholder 2"/>
          <p:cNvSpPr>
            <a:spLocks noGrp="1"/>
          </p:cNvSpPr>
          <p:nvPr>
            <p:ph type="chart" idx="1"/>
          </p:nvPr>
        </p:nvSpPr>
        <p:spPr>
          <a:xfrm>
            <a:off x="457200" y="1600202"/>
            <a:ext cx="8229600" cy="4525963"/>
          </a:xfrm>
        </p:spPr>
        <p:txBody>
          <a:bodyPr/>
          <a:lstStyle/>
          <a:p>
            <a:pPr lvl="0"/>
            <a:r>
              <a:rPr lang="en-US" noProof="0"/>
              <a:t>Click icon to add chart</a:t>
            </a:r>
          </a:p>
        </p:txBody>
      </p:sp>
      <p:sp>
        <p:nvSpPr>
          <p:cNvPr id="4" name="Rectangle 2">
            <a:extLst>
              <a:ext uri="{FF2B5EF4-FFF2-40B4-BE49-F238E27FC236}">
                <a16:creationId xmlns:a16="http://schemas.microsoft.com/office/drawing/2014/main" id="{86751344-0EDD-4AB5-99D1-632D593264FC}"/>
              </a:ext>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3">
            <a:extLst>
              <a:ext uri="{FF2B5EF4-FFF2-40B4-BE49-F238E27FC236}">
                <a16:creationId xmlns:a16="http://schemas.microsoft.com/office/drawing/2014/main" id="{6E0F83E1-B4F1-4528-904A-0AF9E5FDB239}"/>
              </a:ext>
            </a:extLst>
          </p:cNvPr>
          <p:cNvSpPr>
            <a:spLocks noGrp="1" noChangeArrowheads="1"/>
          </p:cNvSpPr>
          <p:nvPr>
            <p:ph type="sldNum" sz="quarter" idx="11"/>
          </p:nvPr>
        </p:nvSpPr>
        <p:spPr>
          <a:ln/>
        </p:spPr>
        <p:txBody>
          <a:bodyPr/>
          <a:lstStyle>
            <a:lvl1pPr>
              <a:defRPr/>
            </a:lvl1pPr>
          </a:lstStyle>
          <a:p>
            <a:fld id="{39634FC6-676B-4019-A1AB-EFBF1A8A9D50}" type="slidenum">
              <a:rPr lang="en-US" altLang="en-US"/>
              <a:pPr/>
              <a:t>‹#›</a:t>
            </a:fld>
            <a:endParaRPr lang="en-US" altLang="en-US"/>
          </a:p>
        </p:txBody>
      </p:sp>
      <p:sp>
        <p:nvSpPr>
          <p:cNvPr id="6" name="Rectangle 14">
            <a:extLst>
              <a:ext uri="{FF2B5EF4-FFF2-40B4-BE49-F238E27FC236}">
                <a16:creationId xmlns:a16="http://schemas.microsoft.com/office/drawing/2014/main" id="{EA44570D-193D-4959-9396-478428167BF5}"/>
              </a:ext>
            </a:extLst>
          </p:cNvPr>
          <p:cNvSpPr>
            <a:spLocks noGrp="1" noChangeArrowheads="1"/>
          </p:cNvSpPr>
          <p:nvPr>
            <p:ph type="ftr" sz="quarter" idx="12"/>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1938247209"/>
      </p:ext>
    </p:extLst>
  </p:cSld>
  <p:clrMapOvr>
    <a:masterClrMapping/>
  </p:clrMapOvr>
  <p:transition>
    <p:random/>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p>
            <a:r>
              <a:rPr lang="en-US"/>
              <a:t>Click to edit Master title style</a:t>
            </a:r>
          </a:p>
        </p:txBody>
      </p:sp>
      <p:sp>
        <p:nvSpPr>
          <p:cNvPr id="3" name="Table Placeholder 2"/>
          <p:cNvSpPr>
            <a:spLocks noGrp="1"/>
          </p:cNvSpPr>
          <p:nvPr>
            <p:ph type="tbl" idx="1"/>
          </p:nvPr>
        </p:nvSpPr>
        <p:spPr>
          <a:xfrm>
            <a:off x="457200" y="1600202"/>
            <a:ext cx="8229600" cy="4525963"/>
          </a:xfrm>
        </p:spPr>
        <p:txBody>
          <a:bodyPr/>
          <a:lstStyle/>
          <a:p>
            <a:pPr lvl="0"/>
            <a:r>
              <a:rPr lang="en-US" noProof="0"/>
              <a:t>Click icon to add table</a:t>
            </a:r>
          </a:p>
        </p:txBody>
      </p:sp>
      <p:sp>
        <p:nvSpPr>
          <p:cNvPr id="4" name="Rectangle 2">
            <a:extLst>
              <a:ext uri="{FF2B5EF4-FFF2-40B4-BE49-F238E27FC236}">
                <a16:creationId xmlns:a16="http://schemas.microsoft.com/office/drawing/2014/main" id="{DE3BF053-E7CC-4A3C-A7BD-D1BBBFEFBAA0}"/>
              </a:ext>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3">
            <a:extLst>
              <a:ext uri="{FF2B5EF4-FFF2-40B4-BE49-F238E27FC236}">
                <a16:creationId xmlns:a16="http://schemas.microsoft.com/office/drawing/2014/main" id="{8386DB12-5E0F-458B-8E5D-CF66EF4B22BF}"/>
              </a:ext>
            </a:extLst>
          </p:cNvPr>
          <p:cNvSpPr>
            <a:spLocks noGrp="1" noChangeArrowheads="1"/>
          </p:cNvSpPr>
          <p:nvPr>
            <p:ph type="sldNum" sz="quarter" idx="11"/>
          </p:nvPr>
        </p:nvSpPr>
        <p:spPr>
          <a:ln/>
        </p:spPr>
        <p:txBody>
          <a:bodyPr/>
          <a:lstStyle>
            <a:lvl1pPr>
              <a:defRPr/>
            </a:lvl1pPr>
          </a:lstStyle>
          <a:p>
            <a:fld id="{BA966095-47BA-4191-904B-4D6C90A2CFB9}" type="slidenum">
              <a:rPr lang="en-US" altLang="en-US"/>
              <a:pPr/>
              <a:t>‹#›</a:t>
            </a:fld>
            <a:endParaRPr lang="en-US" altLang="en-US"/>
          </a:p>
        </p:txBody>
      </p:sp>
      <p:sp>
        <p:nvSpPr>
          <p:cNvPr id="6" name="Rectangle 14">
            <a:extLst>
              <a:ext uri="{FF2B5EF4-FFF2-40B4-BE49-F238E27FC236}">
                <a16:creationId xmlns:a16="http://schemas.microsoft.com/office/drawing/2014/main" id="{ACDA0009-8B17-46D2-8EDC-70F739E6A3F6}"/>
              </a:ext>
            </a:extLst>
          </p:cNvPr>
          <p:cNvSpPr>
            <a:spLocks noGrp="1" noChangeArrowheads="1"/>
          </p:cNvSpPr>
          <p:nvPr>
            <p:ph type="ftr" sz="quarter" idx="12"/>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3108647124"/>
      </p:ext>
    </p:extLst>
  </p:cSld>
  <p:clrMapOvr>
    <a:masterClrMapping/>
  </p:clrMapOvr>
  <p:transition>
    <p:random/>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mediaAndTx" preserve="1">
  <p:cSld name="Title, Media Clip and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p>
            <a:r>
              <a:rPr lang="en-US"/>
              <a:t>Click to edit Master title style</a:t>
            </a:r>
          </a:p>
        </p:txBody>
      </p:sp>
      <p:sp>
        <p:nvSpPr>
          <p:cNvPr id="3" name="Media Placeholder 2"/>
          <p:cNvSpPr>
            <a:spLocks noGrp="1"/>
          </p:cNvSpPr>
          <p:nvPr>
            <p:ph type="media" sz="half" idx="1"/>
          </p:nvPr>
        </p:nvSpPr>
        <p:spPr>
          <a:xfrm>
            <a:off x="457200" y="1600202"/>
            <a:ext cx="4038600" cy="4525963"/>
          </a:xfrm>
        </p:spPr>
        <p:txBody>
          <a:bodyPr/>
          <a:lstStyle/>
          <a:p>
            <a:pPr lvl="0"/>
            <a:r>
              <a:rPr lang="en-US" noProof="0"/>
              <a:t>Click icon to add media</a:t>
            </a:r>
          </a:p>
        </p:txBody>
      </p:sp>
      <p:sp>
        <p:nvSpPr>
          <p:cNvPr id="4" name="Text Placeholder 3"/>
          <p:cNvSpPr>
            <a:spLocks noGrp="1"/>
          </p:cNvSpPr>
          <p:nvPr>
            <p:ph type="body" sz="half" idx="2"/>
          </p:nvPr>
        </p:nvSpPr>
        <p:spPr>
          <a:xfrm>
            <a:off x="4648200" y="1600202"/>
            <a:ext cx="40386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2">
            <a:extLst>
              <a:ext uri="{FF2B5EF4-FFF2-40B4-BE49-F238E27FC236}">
                <a16:creationId xmlns:a16="http://schemas.microsoft.com/office/drawing/2014/main" id="{3A7EC051-2026-4641-A6E9-C422CAC488BF}"/>
              </a:ext>
            </a:extLst>
          </p:cNvPr>
          <p:cNvSpPr>
            <a:spLocks noGrp="1" noChangeArrowheads="1"/>
          </p:cNvSpPr>
          <p:nvPr>
            <p:ph type="dt" sz="half" idx="10"/>
          </p:nvPr>
        </p:nvSpPr>
        <p:spPr>
          <a:ln/>
        </p:spPr>
        <p:txBody>
          <a:bodyPr/>
          <a:lstStyle>
            <a:lvl1pPr>
              <a:defRPr/>
            </a:lvl1pPr>
          </a:lstStyle>
          <a:p>
            <a:pPr>
              <a:defRPr/>
            </a:pPr>
            <a:endParaRPr lang="en-US"/>
          </a:p>
        </p:txBody>
      </p:sp>
      <p:sp>
        <p:nvSpPr>
          <p:cNvPr id="6" name="Rectangle 3">
            <a:extLst>
              <a:ext uri="{FF2B5EF4-FFF2-40B4-BE49-F238E27FC236}">
                <a16:creationId xmlns:a16="http://schemas.microsoft.com/office/drawing/2014/main" id="{B0E2EF05-B14F-42FF-BDC5-3C37F1C2067B}"/>
              </a:ext>
            </a:extLst>
          </p:cNvPr>
          <p:cNvSpPr>
            <a:spLocks noGrp="1" noChangeArrowheads="1"/>
          </p:cNvSpPr>
          <p:nvPr>
            <p:ph type="sldNum" sz="quarter" idx="11"/>
          </p:nvPr>
        </p:nvSpPr>
        <p:spPr>
          <a:ln/>
        </p:spPr>
        <p:txBody>
          <a:bodyPr/>
          <a:lstStyle>
            <a:lvl1pPr>
              <a:defRPr/>
            </a:lvl1pPr>
          </a:lstStyle>
          <a:p>
            <a:fld id="{D6B3443F-28A9-4B17-A310-2BEE4A696F84}" type="slidenum">
              <a:rPr lang="en-US" altLang="en-US"/>
              <a:pPr/>
              <a:t>‹#›</a:t>
            </a:fld>
            <a:endParaRPr lang="en-US" altLang="en-US"/>
          </a:p>
        </p:txBody>
      </p:sp>
      <p:sp>
        <p:nvSpPr>
          <p:cNvPr id="7" name="Rectangle 14">
            <a:extLst>
              <a:ext uri="{FF2B5EF4-FFF2-40B4-BE49-F238E27FC236}">
                <a16:creationId xmlns:a16="http://schemas.microsoft.com/office/drawing/2014/main" id="{017E3520-5941-4BF8-9A95-CCAB599FF5C6}"/>
              </a:ext>
            </a:extLst>
          </p:cNvPr>
          <p:cNvSpPr>
            <a:spLocks noGrp="1" noChangeArrowheads="1"/>
          </p:cNvSpPr>
          <p:nvPr>
            <p:ph type="ftr" sz="quarter" idx="12"/>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3996662365"/>
      </p:ext>
    </p:extLst>
  </p:cSld>
  <p:clrMapOvr>
    <a:masterClrMapping/>
  </p:clrMapOvr>
  <p:transition>
    <p:random/>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pPr>
              <a:defRPr/>
            </a:pPr>
            <a:fld id="{2D41C17F-28AC-4307-AECE-7D837D55DABC}" type="datetime1">
              <a:rPr lang="en-US" smtClean="0"/>
              <a:pPr>
                <a:defRPr/>
              </a:pPr>
              <a:t>1/30/2020</a:t>
            </a:fld>
            <a:endParaRPr lang="pt-PT"/>
          </a:p>
        </p:txBody>
      </p:sp>
      <p:sp>
        <p:nvSpPr>
          <p:cNvPr id="5" name="Footer Placeholder 4"/>
          <p:cNvSpPr>
            <a:spLocks noGrp="1"/>
          </p:cNvSpPr>
          <p:nvPr>
            <p:ph type="ftr" sz="quarter" idx="11"/>
          </p:nvPr>
        </p:nvSpPr>
        <p:spPr/>
        <p:txBody>
          <a:bodyPr/>
          <a:lstStyle/>
          <a:p>
            <a:pPr>
              <a:defRPr/>
            </a:pPr>
            <a:endParaRPr lang="pt-PT"/>
          </a:p>
        </p:txBody>
      </p:sp>
      <p:sp>
        <p:nvSpPr>
          <p:cNvPr id="6" name="Slide Number Placeholder 5"/>
          <p:cNvSpPr>
            <a:spLocks noGrp="1"/>
          </p:cNvSpPr>
          <p:nvPr>
            <p:ph type="sldNum" sz="quarter" idx="12"/>
          </p:nvPr>
        </p:nvSpPr>
        <p:spPr/>
        <p:txBody>
          <a:bodyPr/>
          <a:lstStyle/>
          <a:p>
            <a:fld id="{9CD1A524-E9B2-4BD1-9299-5CDA5B24C179}" type="slidenum">
              <a:rPr lang="pt-PT" altLang="en-US" smtClean="0"/>
              <a:pPr/>
              <a:t>‹#›</a:t>
            </a:fld>
            <a:endParaRPr lang="pt-PT" altLang="en-US"/>
          </a:p>
        </p:txBody>
      </p:sp>
    </p:spTree>
    <p:extLst>
      <p:ext uri="{BB962C8B-B14F-4D97-AF65-F5344CB8AC3E}">
        <p14:creationId xmlns:p14="http://schemas.microsoft.com/office/powerpoint/2010/main" val="2223552949"/>
      </p:ext>
    </p:extLst>
  </p:cSld>
  <p:clrMapOvr>
    <a:masterClrMapping/>
  </p:clrMapOvr>
  <p:hf hdr="0" ftr="0" dt="0"/>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a:defRPr/>
            </a:pPr>
            <a:fld id="{2D41C17F-28AC-4307-AECE-7D837D55DABC}" type="datetime1">
              <a:rPr lang="en-US" smtClean="0"/>
              <a:pPr>
                <a:defRPr/>
              </a:pPr>
              <a:t>1/30/2020</a:t>
            </a:fld>
            <a:endParaRPr lang="pt-PT"/>
          </a:p>
        </p:txBody>
      </p:sp>
      <p:sp>
        <p:nvSpPr>
          <p:cNvPr id="5" name="Footer Placeholder 4"/>
          <p:cNvSpPr>
            <a:spLocks noGrp="1"/>
          </p:cNvSpPr>
          <p:nvPr>
            <p:ph type="ftr" sz="quarter" idx="11"/>
          </p:nvPr>
        </p:nvSpPr>
        <p:spPr/>
        <p:txBody>
          <a:bodyPr/>
          <a:lstStyle/>
          <a:p>
            <a:pPr>
              <a:defRPr/>
            </a:pPr>
            <a:endParaRPr lang="pt-PT"/>
          </a:p>
        </p:txBody>
      </p:sp>
      <p:sp>
        <p:nvSpPr>
          <p:cNvPr id="6" name="Slide Number Placeholder 5"/>
          <p:cNvSpPr>
            <a:spLocks noGrp="1"/>
          </p:cNvSpPr>
          <p:nvPr>
            <p:ph type="sldNum" sz="quarter" idx="12"/>
          </p:nvPr>
        </p:nvSpPr>
        <p:spPr/>
        <p:txBody>
          <a:bodyPr/>
          <a:lstStyle/>
          <a:p>
            <a:fld id="{9CD1A524-E9B2-4BD1-9299-5CDA5B24C179}" type="slidenum">
              <a:rPr lang="pt-PT" altLang="en-US" smtClean="0"/>
              <a:pPr/>
              <a:t>‹#›</a:t>
            </a:fld>
            <a:endParaRPr lang="pt-PT" altLang="en-US"/>
          </a:p>
        </p:txBody>
      </p:sp>
    </p:spTree>
    <p:extLst>
      <p:ext uri="{BB962C8B-B14F-4D97-AF65-F5344CB8AC3E}">
        <p14:creationId xmlns:p14="http://schemas.microsoft.com/office/powerpoint/2010/main" val="3108339120"/>
      </p:ext>
    </p:extLst>
  </p:cSld>
  <p:clrMapOvr>
    <a:masterClrMapping/>
  </p:clrMapOvr>
  <p:hf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pPr>
              <a:defRPr/>
            </a:pPr>
            <a:fld id="{2D41C17F-28AC-4307-AECE-7D837D55DABC}" type="datetime1">
              <a:rPr lang="en-US" smtClean="0"/>
              <a:pPr>
                <a:defRPr/>
              </a:pPr>
              <a:t>1/30/2020</a:t>
            </a:fld>
            <a:endParaRPr lang="pt-PT"/>
          </a:p>
        </p:txBody>
      </p:sp>
      <p:sp>
        <p:nvSpPr>
          <p:cNvPr id="5" name="Footer Placeholder 4"/>
          <p:cNvSpPr>
            <a:spLocks noGrp="1"/>
          </p:cNvSpPr>
          <p:nvPr>
            <p:ph type="ftr" sz="quarter" idx="11"/>
          </p:nvPr>
        </p:nvSpPr>
        <p:spPr/>
        <p:txBody>
          <a:bodyPr/>
          <a:lstStyle/>
          <a:p>
            <a:pPr>
              <a:defRPr/>
            </a:pPr>
            <a:endParaRPr lang="pt-PT"/>
          </a:p>
        </p:txBody>
      </p:sp>
      <p:sp>
        <p:nvSpPr>
          <p:cNvPr id="6" name="Slide Number Placeholder 5"/>
          <p:cNvSpPr>
            <a:spLocks noGrp="1"/>
          </p:cNvSpPr>
          <p:nvPr>
            <p:ph type="sldNum" sz="quarter" idx="12"/>
          </p:nvPr>
        </p:nvSpPr>
        <p:spPr/>
        <p:txBody>
          <a:bodyPr/>
          <a:lstStyle/>
          <a:p>
            <a:fld id="{9CD1A524-E9B2-4BD1-9299-5CDA5B24C179}" type="slidenum">
              <a:rPr lang="pt-PT" altLang="en-US" smtClean="0"/>
              <a:pPr/>
              <a:t>‹#›</a:t>
            </a:fld>
            <a:endParaRPr lang="pt-PT" altLang="en-US"/>
          </a:p>
        </p:txBody>
      </p:sp>
    </p:spTree>
    <p:extLst>
      <p:ext uri="{BB962C8B-B14F-4D97-AF65-F5344CB8AC3E}">
        <p14:creationId xmlns:p14="http://schemas.microsoft.com/office/powerpoint/2010/main" val="1839833307"/>
      </p:ext>
    </p:extLst>
  </p:cSld>
  <p:clrMapOvr>
    <a:masterClrMapping/>
  </p:clrMapOvr>
  <p:hf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pPr>
              <a:defRPr/>
            </a:pPr>
            <a:fld id="{2D41C17F-28AC-4307-AECE-7D837D55DABC}" type="datetime1">
              <a:rPr lang="en-US" smtClean="0"/>
              <a:pPr>
                <a:defRPr/>
              </a:pPr>
              <a:t>1/30/2020</a:t>
            </a:fld>
            <a:endParaRPr lang="pt-PT"/>
          </a:p>
        </p:txBody>
      </p:sp>
      <p:sp>
        <p:nvSpPr>
          <p:cNvPr id="6" name="Footer Placeholder 5"/>
          <p:cNvSpPr>
            <a:spLocks noGrp="1"/>
          </p:cNvSpPr>
          <p:nvPr>
            <p:ph type="ftr" sz="quarter" idx="11"/>
          </p:nvPr>
        </p:nvSpPr>
        <p:spPr/>
        <p:txBody>
          <a:bodyPr/>
          <a:lstStyle/>
          <a:p>
            <a:pPr>
              <a:defRPr/>
            </a:pPr>
            <a:endParaRPr lang="pt-PT"/>
          </a:p>
        </p:txBody>
      </p:sp>
      <p:sp>
        <p:nvSpPr>
          <p:cNvPr id="7" name="Slide Number Placeholder 6"/>
          <p:cNvSpPr>
            <a:spLocks noGrp="1"/>
          </p:cNvSpPr>
          <p:nvPr>
            <p:ph type="sldNum" sz="quarter" idx="12"/>
          </p:nvPr>
        </p:nvSpPr>
        <p:spPr/>
        <p:txBody>
          <a:bodyPr/>
          <a:lstStyle/>
          <a:p>
            <a:fld id="{9CD1A524-E9B2-4BD1-9299-5CDA5B24C179}" type="slidenum">
              <a:rPr lang="pt-PT" altLang="en-US" smtClean="0"/>
              <a:pPr/>
              <a:t>‹#›</a:t>
            </a:fld>
            <a:endParaRPr lang="pt-PT" altLang="en-US"/>
          </a:p>
        </p:txBody>
      </p:sp>
    </p:spTree>
    <p:extLst>
      <p:ext uri="{BB962C8B-B14F-4D97-AF65-F5344CB8AC3E}">
        <p14:creationId xmlns:p14="http://schemas.microsoft.com/office/powerpoint/2010/main" val="498911120"/>
      </p:ext>
    </p:extLst>
  </p:cSld>
  <p:clrMapOvr>
    <a:masterClrMapping/>
  </p:clrMapOvr>
  <p:hf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pPr>
              <a:defRPr/>
            </a:pPr>
            <a:fld id="{2D41C17F-28AC-4307-AECE-7D837D55DABC}" type="datetime1">
              <a:rPr lang="en-US" smtClean="0"/>
              <a:pPr>
                <a:defRPr/>
              </a:pPr>
              <a:t>1/30/2020</a:t>
            </a:fld>
            <a:endParaRPr lang="pt-PT"/>
          </a:p>
        </p:txBody>
      </p:sp>
      <p:sp>
        <p:nvSpPr>
          <p:cNvPr id="8" name="Footer Placeholder 7"/>
          <p:cNvSpPr>
            <a:spLocks noGrp="1"/>
          </p:cNvSpPr>
          <p:nvPr>
            <p:ph type="ftr" sz="quarter" idx="11"/>
          </p:nvPr>
        </p:nvSpPr>
        <p:spPr/>
        <p:txBody>
          <a:bodyPr/>
          <a:lstStyle/>
          <a:p>
            <a:pPr>
              <a:defRPr/>
            </a:pPr>
            <a:endParaRPr lang="pt-PT"/>
          </a:p>
        </p:txBody>
      </p:sp>
      <p:sp>
        <p:nvSpPr>
          <p:cNvPr id="9" name="Slide Number Placeholder 8"/>
          <p:cNvSpPr>
            <a:spLocks noGrp="1"/>
          </p:cNvSpPr>
          <p:nvPr>
            <p:ph type="sldNum" sz="quarter" idx="12"/>
          </p:nvPr>
        </p:nvSpPr>
        <p:spPr/>
        <p:txBody>
          <a:bodyPr/>
          <a:lstStyle/>
          <a:p>
            <a:fld id="{9CD1A524-E9B2-4BD1-9299-5CDA5B24C179}" type="slidenum">
              <a:rPr lang="pt-PT" altLang="en-US" smtClean="0"/>
              <a:pPr/>
              <a:t>‹#›</a:t>
            </a:fld>
            <a:endParaRPr lang="pt-PT" altLang="en-US"/>
          </a:p>
        </p:txBody>
      </p:sp>
    </p:spTree>
    <p:extLst>
      <p:ext uri="{BB962C8B-B14F-4D97-AF65-F5344CB8AC3E}">
        <p14:creationId xmlns:p14="http://schemas.microsoft.com/office/powerpoint/2010/main" val="2047346602"/>
      </p:ext>
    </p:extLst>
  </p:cSld>
  <p:clrMapOvr>
    <a:masterClrMapping/>
  </p:clrMapOvr>
  <p:hf hdr="0" ftr="0" dt="0"/>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pPr>
              <a:defRPr/>
            </a:pPr>
            <a:fld id="{2D41C17F-28AC-4307-AECE-7D837D55DABC}" type="datetime1">
              <a:rPr lang="en-US" smtClean="0"/>
              <a:pPr>
                <a:defRPr/>
              </a:pPr>
              <a:t>1/30/2020</a:t>
            </a:fld>
            <a:endParaRPr lang="pt-PT"/>
          </a:p>
        </p:txBody>
      </p:sp>
      <p:sp>
        <p:nvSpPr>
          <p:cNvPr id="4" name="Footer Placeholder 3"/>
          <p:cNvSpPr>
            <a:spLocks noGrp="1"/>
          </p:cNvSpPr>
          <p:nvPr>
            <p:ph type="ftr" sz="quarter" idx="11"/>
          </p:nvPr>
        </p:nvSpPr>
        <p:spPr/>
        <p:txBody>
          <a:bodyPr/>
          <a:lstStyle/>
          <a:p>
            <a:pPr>
              <a:defRPr/>
            </a:pPr>
            <a:endParaRPr lang="pt-PT"/>
          </a:p>
        </p:txBody>
      </p:sp>
      <p:sp>
        <p:nvSpPr>
          <p:cNvPr id="5" name="Slide Number Placeholder 4"/>
          <p:cNvSpPr>
            <a:spLocks noGrp="1"/>
          </p:cNvSpPr>
          <p:nvPr>
            <p:ph type="sldNum" sz="quarter" idx="12"/>
          </p:nvPr>
        </p:nvSpPr>
        <p:spPr/>
        <p:txBody>
          <a:bodyPr/>
          <a:lstStyle/>
          <a:p>
            <a:fld id="{9CD1A524-E9B2-4BD1-9299-5CDA5B24C179}" type="slidenum">
              <a:rPr lang="pt-PT" altLang="en-US" smtClean="0"/>
              <a:pPr/>
              <a:t>‹#›</a:t>
            </a:fld>
            <a:endParaRPr lang="pt-PT" altLang="en-US"/>
          </a:p>
        </p:txBody>
      </p:sp>
    </p:spTree>
    <p:extLst>
      <p:ext uri="{BB962C8B-B14F-4D97-AF65-F5344CB8AC3E}">
        <p14:creationId xmlns:p14="http://schemas.microsoft.com/office/powerpoint/2010/main" val="1240684346"/>
      </p:ext>
    </p:extLst>
  </p:cSld>
  <p:clrMapOvr>
    <a:masterClrMapping/>
  </p:clrMapOvr>
  <p:hf hdr="0" ftr="0" dt="0"/>
</p:sldLayout>
</file>

<file path=ppt/slideLayouts/slideLayout4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a:defRPr/>
            </a:pPr>
            <a:fld id="{2D41C17F-28AC-4307-AECE-7D837D55DABC}" type="datetime1">
              <a:rPr lang="en-US" smtClean="0"/>
              <a:pPr>
                <a:defRPr/>
              </a:pPr>
              <a:t>1/30/2020</a:t>
            </a:fld>
            <a:endParaRPr lang="pt-PT"/>
          </a:p>
        </p:txBody>
      </p:sp>
      <p:sp>
        <p:nvSpPr>
          <p:cNvPr id="3" name="Footer Placeholder 2"/>
          <p:cNvSpPr>
            <a:spLocks noGrp="1"/>
          </p:cNvSpPr>
          <p:nvPr>
            <p:ph type="ftr" sz="quarter" idx="11"/>
          </p:nvPr>
        </p:nvSpPr>
        <p:spPr/>
        <p:txBody>
          <a:bodyPr/>
          <a:lstStyle/>
          <a:p>
            <a:pPr>
              <a:defRPr/>
            </a:pPr>
            <a:endParaRPr lang="pt-PT"/>
          </a:p>
        </p:txBody>
      </p:sp>
      <p:sp>
        <p:nvSpPr>
          <p:cNvPr id="4" name="Slide Number Placeholder 3"/>
          <p:cNvSpPr>
            <a:spLocks noGrp="1"/>
          </p:cNvSpPr>
          <p:nvPr>
            <p:ph type="sldNum" sz="quarter" idx="12"/>
          </p:nvPr>
        </p:nvSpPr>
        <p:spPr/>
        <p:txBody>
          <a:bodyPr/>
          <a:lstStyle/>
          <a:p>
            <a:fld id="{9CD1A524-E9B2-4BD1-9299-5CDA5B24C179}" type="slidenum">
              <a:rPr lang="pt-PT" altLang="en-US" smtClean="0"/>
              <a:pPr/>
              <a:t>‹#›</a:t>
            </a:fld>
            <a:endParaRPr lang="pt-PT" altLang="en-US"/>
          </a:p>
        </p:txBody>
      </p:sp>
    </p:spTree>
    <p:extLst>
      <p:ext uri="{BB962C8B-B14F-4D97-AF65-F5344CB8AC3E}">
        <p14:creationId xmlns:p14="http://schemas.microsoft.com/office/powerpoint/2010/main" val="711420377"/>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914400" y="273050"/>
            <a:ext cx="77724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914400" y="1447800"/>
            <a:ext cx="3733800" cy="762000"/>
          </a:xfrm>
          <a:noFill/>
          <a:ln w="12700" cap="sq" cmpd="sng" algn="ctr">
            <a:noFill/>
            <a:prstDash val="solid"/>
          </a:ln>
        </p:spPr>
        <p:txBody>
          <a:bodyPr anchor="b">
            <a:noAutofit/>
          </a:bodyPr>
          <a:lstStyle>
            <a:lvl1pPr marL="0" indent="0">
              <a:buNone/>
              <a:defRPr sz="2400" b="1">
                <a:solidFill>
                  <a:schemeClr val="accent1"/>
                </a:solidFill>
                <a:latin typeface="+mj-lt"/>
                <a:ea typeface="+mj-ea"/>
                <a:cs typeface="+mj-cs"/>
              </a:defRPr>
            </a:lvl1pPr>
            <a:lvl2pPr>
              <a:buNone/>
              <a:defRPr sz="2000" b="1"/>
            </a:lvl2pPr>
            <a:lvl3pPr>
              <a:buNone/>
              <a:defRPr sz="1800" b="1"/>
            </a:lvl3pPr>
            <a:lvl4pPr>
              <a:buNone/>
              <a:defRPr sz="1600" b="1"/>
            </a:lvl4pPr>
            <a:lvl5pPr>
              <a:buNone/>
              <a:defRPr sz="1600" b="1"/>
            </a:lvl5pPr>
          </a:lstStyle>
          <a:p>
            <a:pPr lvl="0"/>
            <a:r>
              <a:rPr lang="en-US"/>
              <a:t>Click to edit Master text styles</a:t>
            </a:r>
          </a:p>
        </p:txBody>
      </p:sp>
      <p:sp>
        <p:nvSpPr>
          <p:cNvPr id="4" name="Text Placeholder 3"/>
          <p:cNvSpPr>
            <a:spLocks noGrp="1"/>
          </p:cNvSpPr>
          <p:nvPr>
            <p:ph type="body" sz="half" idx="3"/>
          </p:nvPr>
        </p:nvSpPr>
        <p:spPr>
          <a:xfrm>
            <a:off x="4953000" y="1447800"/>
            <a:ext cx="3733800" cy="762000"/>
          </a:xfrm>
          <a:noFill/>
          <a:ln w="12700" cap="sq" cmpd="sng" algn="ctr">
            <a:noFill/>
            <a:prstDash val="solid"/>
          </a:ln>
        </p:spPr>
        <p:txBody>
          <a:bodyPr anchor="b">
            <a:noAutofit/>
          </a:bodyPr>
          <a:lstStyle>
            <a:lvl1pPr marL="0" indent="0">
              <a:buNone/>
              <a:defRPr sz="2400" b="1">
                <a:solidFill>
                  <a:schemeClr val="accent1"/>
                </a:solidFill>
                <a:latin typeface="+mj-lt"/>
                <a:ea typeface="+mj-ea"/>
                <a:cs typeface="+mj-cs"/>
              </a:defRPr>
            </a:lvl1pPr>
            <a:lvl2pPr>
              <a:buNone/>
              <a:defRPr sz="2000" b="1"/>
            </a:lvl2pPr>
            <a:lvl3pPr>
              <a:buNone/>
              <a:defRPr sz="1800" b="1"/>
            </a:lvl3pPr>
            <a:lvl4pPr>
              <a:buNone/>
              <a:defRPr sz="1600" b="1"/>
            </a:lvl4pPr>
            <a:lvl5pPr>
              <a:buNone/>
              <a:defRPr sz="1600" b="1"/>
            </a:lvl5pPr>
          </a:lstStyle>
          <a:p>
            <a:pPr lvl="0"/>
            <a:r>
              <a:rPr lang="en-US"/>
              <a:t>Click to edit Master text styles</a:t>
            </a:r>
          </a:p>
        </p:txBody>
      </p:sp>
      <p:sp>
        <p:nvSpPr>
          <p:cNvPr id="11" name="Content Placeholder 10"/>
          <p:cNvSpPr>
            <a:spLocks noGrp="1"/>
          </p:cNvSpPr>
          <p:nvPr>
            <p:ph sz="half" idx="2"/>
          </p:nvPr>
        </p:nvSpPr>
        <p:spPr>
          <a:xfrm>
            <a:off x="914400" y="2247900"/>
            <a:ext cx="3733800" cy="3886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2"/>
          <p:cNvSpPr>
            <a:spLocks noGrp="1"/>
          </p:cNvSpPr>
          <p:nvPr>
            <p:ph sz="half" idx="4"/>
          </p:nvPr>
        </p:nvSpPr>
        <p:spPr>
          <a:xfrm>
            <a:off x="4953000" y="2247900"/>
            <a:ext cx="3733800" cy="3886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13">
            <a:extLst>
              <a:ext uri="{FF2B5EF4-FFF2-40B4-BE49-F238E27FC236}">
                <a16:creationId xmlns:a16="http://schemas.microsoft.com/office/drawing/2014/main" id="{200B304E-EC65-4B85-9E6B-5D9B9F5A71C7}"/>
              </a:ext>
            </a:extLst>
          </p:cNvPr>
          <p:cNvSpPr>
            <a:spLocks noGrp="1"/>
          </p:cNvSpPr>
          <p:nvPr>
            <p:ph type="dt" sz="half" idx="10"/>
          </p:nvPr>
        </p:nvSpPr>
        <p:spPr/>
        <p:txBody>
          <a:bodyPr/>
          <a:lstStyle>
            <a:lvl1pPr>
              <a:defRPr/>
            </a:lvl1pPr>
          </a:lstStyle>
          <a:p>
            <a:pPr>
              <a:defRPr/>
            </a:pPr>
            <a:fld id="{9EA96C9F-0518-4111-A588-50498919AC3F}" type="datetimeFigureOut">
              <a:rPr lang="en-US"/>
              <a:pPr>
                <a:defRPr/>
              </a:pPr>
              <a:t>1/30/2020</a:t>
            </a:fld>
            <a:endParaRPr lang="en-US"/>
          </a:p>
        </p:txBody>
      </p:sp>
      <p:sp>
        <p:nvSpPr>
          <p:cNvPr id="8" name="Footer Placeholder 2">
            <a:extLst>
              <a:ext uri="{FF2B5EF4-FFF2-40B4-BE49-F238E27FC236}">
                <a16:creationId xmlns:a16="http://schemas.microsoft.com/office/drawing/2014/main" id="{C4ED653F-2BC9-44C4-8DF6-D834577A2233}"/>
              </a:ext>
            </a:extLst>
          </p:cNvPr>
          <p:cNvSpPr>
            <a:spLocks noGrp="1"/>
          </p:cNvSpPr>
          <p:nvPr>
            <p:ph type="ftr" sz="quarter" idx="11"/>
          </p:nvPr>
        </p:nvSpPr>
        <p:spPr/>
        <p:txBody>
          <a:bodyPr/>
          <a:lstStyle>
            <a:lvl1pPr>
              <a:defRPr/>
            </a:lvl1pPr>
          </a:lstStyle>
          <a:p>
            <a:pPr>
              <a:defRPr/>
            </a:pPr>
            <a:endParaRPr lang="en-US"/>
          </a:p>
        </p:txBody>
      </p:sp>
      <p:sp>
        <p:nvSpPr>
          <p:cNvPr id="9" name="Slide Number Placeholder 22">
            <a:extLst>
              <a:ext uri="{FF2B5EF4-FFF2-40B4-BE49-F238E27FC236}">
                <a16:creationId xmlns:a16="http://schemas.microsoft.com/office/drawing/2014/main" id="{BCD09A6A-F600-4A66-B035-CAA380862BF7}"/>
              </a:ext>
            </a:extLst>
          </p:cNvPr>
          <p:cNvSpPr>
            <a:spLocks noGrp="1"/>
          </p:cNvSpPr>
          <p:nvPr>
            <p:ph type="sldNum" sz="quarter" idx="12"/>
          </p:nvPr>
        </p:nvSpPr>
        <p:spPr/>
        <p:txBody>
          <a:bodyPr/>
          <a:lstStyle>
            <a:lvl1pPr>
              <a:defRPr/>
            </a:lvl1pPr>
          </a:lstStyle>
          <a:p>
            <a:fld id="{F2E47F9F-BCD4-47AF-ABFB-CE6AB8BFCE3C}" type="slidenum">
              <a:rPr lang="en-US" altLang="en-US"/>
              <a:pPr/>
              <a:t>‹#›</a:t>
            </a:fld>
            <a:endParaRPr lang="en-US" altLang="en-US"/>
          </a:p>
        </p:txBody>
      </p:sp>
    </p:spTree>
    <p:extLst>
      <p:ext uri="{BB962C8B-B14F-4D97-AF65-F5344CB8AC3E}">
        <p14:creationId xmlns:p14="http://schemas.microsoft.com/office/powerpoint/2010/main" val="352553609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pPr>
              <a:defRPr/>
            </a:pPr>
            <a:fld id="{2D41C17F-28AC-4307-AECE-7D837D55DABC}" type="datetime1">
              <a:rPr lang="en-US" smtClean="0"/>
              <a:pPr>
                <a:defRPr/>
              </a:pPr>
              <a:t>1/30/2020</a:t>
            </a:fld>
            <a:endParaRPr lang="pt-PT"/>
          </a:p>
        </p:txBody>
      </p:sp>
      <p:sp>
        <p:nvSpPr>
          <p:cNvPr id="6" name="Footer Placeholder 5"/>
          <p:cNvSpPr>
            <a:spLocks noGrp="1"/>
          </p:cNvSpPr>
          <p:nvPr>
            <p:ph type="ftr" sz="quarter" idx="11"/>
          </p:nvPr>
        </p:nvSpPr>
        <p:spPr/>
        <p:txBody>
          <a:bodyPr/>
          <a:lstStyle/>
          <a:p>
            <a:pPr>
              <a:defRPr/>
            </a:pPr>
            <a:endParaRPr lang="pt-PT"/>
          </a:p>
        </p:txBody>
      </p:sp>
      <p:sp>
        <p:nvSpPr>
          <p:cNvPr id="7" name="Slide Number Placeholder 6"/>
          <p:cNvSpPr>
            <a:spLocks noGrp="1"/>
          </p:cNvSpPr>
          <p:nvPr>
            <p:ph type="sldNum" sz="quarter" idx="12"/>
          </p:nvPr>
        </p:nvSpPr>
        <p:spPr/>
        <p:txBody>
          <a:bodyPr/>
          <a:lstStyle/>
          <a:p>
            <a:fld id="{9CD1A524-E9B2-4BD1-9299-5CDA5B24C179}" type="slidenum">
              <a:rPr lang="pt-PT" altLang="en-US" smtClean="0"/>
              <a:pPr/>
              <a:t>‹#›</a:t>
            </a:fld>
            <a:endParaRPr lang="pt-PT" altLang="en-US"/>
          </a:p>
        </p:txBody>
      </p:sp>
    </p:spTree>
    <p:extLst>
      <p:ext uri="{BB962C8B-B14F-4D97-AF65-F5344CB8AC3E}">
        <p14:creationId xmlns:p14="http://schemas.microsoft.com/office/powerpoint/2010/main" val="2939222001"/>
      </p:ext>
    </p:extLst>
  </p:cSld>
  <p:clrMapOvr>
    <a:masterClrMapping/>
  </p:clrMapOvr>
  <p:hf hdr="0" ftr="0" dt="0"/>
</p:sldLayout>
</file>

<file path=ppt/slideLayouts/slideLayout5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pPr>
              <a:defRPr/>
            </a:pPr>
            <a:fld id="{2D41C17F-28AC-4307-AECE-7D837D55DABC}" type="datetime1">
              <a:rPr lang="en-US" smtClean="0"/>
              <a:pPr>
                <a:defRPr/>
              </a:pPr>
              <a:t>1/30/2020</a:t>
            </a:fld>
            <a:endParaRPr lang="pt-PT"/>
          </a:p>
        </p:txBody>
      </p:sp>
      <p:sp>
        <p:nvSpPr>
          <p:cNvPr id="6" name="Footer Placeholder 5"/>
          <p:cNvSpPr>
            <a:spLocks noGrp="1"/>
          </p:cNvSpPr>
          <p:nvPr>
            <p:ph type="ftr" sz="quarter" idx="11"/>
          </p:nvPr>
        </p:nvSpPr>
        <p:spPr/>
        <p:txBody>
          <a:bodyPr/>
          <a:lstStyle/>
          <a:p>
            <a:pPr>
              <a:defRPr/>
            </a:pPr>
            <a:endParaRPr lang="pt-PT"/>
          </a:p>
        </p:txBody>
      </p:sp>
      <p:sp>
        <p:nvSpPr>
          <p:cNvPr id="7" name="Slide Number Placeholder 6"/>
          <p:cNvSpPr>
            <a:spLocks noGrp="1"/>
          </p:cNvSpPr>
          <p:nvPr>
            <p:ph type="sldNum" sz="quarter" idx="12"/>
          </p:nvPr>
        </p:nvSpPr>
        <p:spPr/>
        <p:txBody>
          <a:bodyPr/>
          <a:lstStyle/>
          <a:p>
            <a:fld id="{9CD1A524-E9B2-4BD1-9299-5CDA5B24C179}" type="slidenum">
              <a:rPr lang="pt-PT" altLang="en-US" smtClean="0"/>
              <a:pPr/>
              <a:t>‹#›</a:t>
            </a:fld>
            <a:endParaRPr lang="pt-PT" altLang="en-US"/>
          </a:p>
        </p:txBody>
      </p:sp>
    </p:spTree>
    <p:extLst>
      <p:ext uri="{BB962C8B-B14F-4D97-AF65-F5344CB8AC3E}">
        <p14:creationId xmlns:p14="http://schemas.microsoft.com/office/powerpoint/2010/main" val="126776322"/>
      </p:ext>
    </p:extLst>
  </p:cSld>
  <p:clrMapOvr>
    <a:masterClrMapping/>
  </p:clrMapOvr>
  <p:hf hdr="0" ftr="0" dt="0"/>
</p:sldLayout>
</file>

<file path=ppt/slideLayouts/slideLayout5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a:defRPr/>
            </a:pPr>
            <a:fld id="{2D41C17F-28AC-4307-AECE-7D837D55DABC}" type="datetime1">
              <a:rPr lang="en-US" smtClean="0"/>
              <a:pPr>
                <a:defRPr/>
              </a:pPr>
              <a:t>1/30/2020</a:t>
            </a:fld>
            <a:endParaRPr lang="pt-PT"/>
          </a:p>
        </p:txBody>
      </p:sp>
      <p:sp>
        <p:nvSpPr>
          <p:cNvPr id="5" name="Footer Placeholder 4"/>
          <p:cNvSpPr>
            <a:spLocks noGrp="1"/>
          </p:cNvSpPr>
          <p:nvPr>
            <p:ph type="ftr" sz="quarter" idx="11"/>
          </p:nvPr>
        </p:nvSpPr>
        <p:spPr/>
        <p:txBody>
          <a:bodyPr/>
          <a:lstStyle/>
          <a:p>
            <a:pPr>
              <a:defRPr/>
            </a:pPr>
            <a:endParaRPr lang="pt-PT"/>
          </a:p>
        </p:txBody>
      </p:sp>
      <p:sp>
        <p:nvSpPr>
          <p:cNvPr id="6" name="Slide Number Placeholder 5"/>
          <p:cNvSpPr>
            <a:spLocks noGrp="1"/>
          </p:cNvSpPr>
          <p:nvPr>
            <p:ph type="sldNum" sz="quarter" idx="12"/>
          </p:nvPr>
        </p:nvSpPr>
        <p:spPr/>
        <p:txBody>
          <a:bodyPr/>
          <a:lstStyle/>
          <a:p>
            <a:fld id="{9CD1A524-E9B2-4BD1-9299-5CDA5B24C179}" type="slidenum">
              <a:rPr lang="pt-PT" altLang="en-US" smtClean="0"/>
              <a:pPr/>
              <a:t>‹#›</a:t>
            </a:fld>
            <a:endParaRPr lang="pt-PT" altLang="en-US"/>
          </a:p>
        </p:txBody>
      </p:sp>
    </p:spTree>
    <p:extLst>
      <p:ext uri="{BB962C8B-B14F-4D97-AF65-F5344CB8AC3E}">
        <p14:creationId xmlns:p14="http://schemas.microsoft.com/office/powerpoint/2010/main" val="35207001"/>
      </p:ext>
    </p:extLst>
  </p:cSld>
  <p:clrMapOvr>
    <a:masterClrMapping/>
  </p:clrMapOvr>
  <p:hf hdr="0" ftr="0" dt="0"/>
</p:sldLayout>
</file>

<file path=ppt/slideLayouts/slideLayout5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a:defRPr/>
            </a:pPr>
            <a:fld id="{2D41C17F-28AC-4307-AECE-7D837D55DABC}" type="datetime1">
              <a:rPr lang="en-US" smtClean="0"/>
              <a:pPr>
                <a:defRPr/>
              </a:pPr>
              <a:t>1/30/2020</a:t>
            </a:fld>
            <a:endParaRPr lang="pt-PT"/>
          </a:p>
        </p:txBody>
      </p:sp>
      <p:sp>
        <p:nvSpPr>
          <p:cNvPr id="5" name="Footer Placeholder 4"/>
          <p:cNvSpPr>
            <a:spLocks noGrp="1"/>
          </p:cNvSpPr>
          <p:nvPr>
            <p:ph type="ftr" sz="quarter" idx="11"/>
          </p:nvPr>
        </p:nvSpPr>
        <p:spPr/>
        <p:txBody>
          <a:bodyPr/>
          <a:lstStyle/>
          <a:p>
            <a:pPr>
              <a:defRPr/>
            </a:pPr>
            <a:endParaRPr lang="pt-PT"/>
          </a:p>
        </p:txBody>
      </p:sp>
      <p:sp>
        <p:nvSpPr>
          <p:cNvPr id="6" name="Slide Number Placeholder 5"/>
          <p:cNvSpPr>
            <a:spLocks noGrp="1"/>
          </p:cNvSpPr>
          <p:nvPr>
            <p:ph type="sldNum" sz="quarter" idx="12"/>
          </p:nvPr>
        </p:nvSpPr>
        <p:spPr/>
        <p:txBody>
          <a:bodyPr/>
          <a:lstStyle/>
          <a:p>
            <a:fld id="{9CD1A524-E9B2-4BD1-9299-5CDA5B24C179}" type="slidenum">
              <a:rPr lang="pt-PT" altLang="en-US" smtClean="0"/>
              <a:pPr/>
              <a:t>‹#›</a:t>
            </a:fld>
            <a:endParaRPr lang="pt-PT" altLang="en-US"/>
          </a:p>
        </p:txBody>
      </p:sp>
    </p:spTree>
    <p:extLst>
      <p:ext uri="{BB962C8B-B14F-4D97-AF65-F5344CB8AC3E}">
        <p14:creationId xmlns:p14="http://schemas.microsoft.com/office/powerpoint/2010/main" val="1151443062"/>
      </p:ext>
    </p:extLst>
  </p:cSld>
  <p:clrMapOvr>
    <a:masterClrMapping/>
  </p:clrMapOvr>
  <p:hf hdr="0" ftr="0" dt="0"/>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Esquema Personalizado">
    <p:spTree>
      <p:nvGrpSpPr>
        <p:cNvPr id="1" name=""/>
        <p:cNvGrpSpPr/>
        <p:nvPr/>
      </p:nvGrpSpPr>
      <p:grpSpPr>
        <a:xfrm>
          <a:off x="0" y="0"/>
          <a:ext cx="0" cy="0"/>
          <a:chOff x="0" y="0"/>
          <a:chExt cx="0" cy="0"/>
        </a:xfrm>
      </p:grpSpPr>
      <p:sp>
        <p:nvSpPr>
          <p:cNvPr id="2" name="Marcador de Posição da Data 3">
            <a:extLst>
              <a:ext uri="{FF2B5EF4-FFF2-40B4-BE49-F238E27FC236}">
                <a16:creationId xmlns:a16="http://schemas.microsoft.com/office/drawing/2014/main" id="{D1B7C4A3-5BDD-4F57-8373-26D7E7D37C7B}"/>
              </a:ext>
            </a:extLst>
          </p:cNvPr>
          <p:cNvSpPr>
            <a:spLocks noGrp="1"/>
          </p:cNvSpPr>
          <p:nvPr>
            <p:ph type="dt" sz="half" idx="10"/>
          </p:nvPr>
        </p:nvSpPr>
        <p:spPr/>
        <p:txBody>
          <a:bodyPr/>
          <a:lstStyle>
            <a:lvl1pPr>
              <a:defRPr/>
            </a:lvl1pPr>
          </a:lstStyle>
          <a:p>
            <a:pPr>
              <a:defRPr/>
            </a:pPr>
            <a:fld id="{8A8D344D-40E4-48F4-8D15-B8AE758DA617}" type="datetime1">
              <a:rPr lang="en-US"/>
              <a:pPr>
                <a:defRPr/>
              </a:pPr>
              <a:t>1/30/2020</a:t>
            </a:fld>
            <a:endParaRPr lang="pt-PT"/>
          </a:p>
        </p:txBody>
      </p:sp>
      <p:sp>
        <p:nvSpPr>
          <p:cNvPr id="3" name="Marcador de Posição do Rodapé 4">
            <a:extLst>
              <a:ext uri="{FF2B5EF4-FFF2-40B4-BE49-F238E27FC236}">
                <a16:creationId xmlns:a16="http://schemas.microsoft.com/office/drawing/2014/main" id="{722F4224-FF7A-46BA-A015-3F63CFF6F513}"/>
              </a:ext>
            </a:extLst>
          </p:cNvPr>
          <p:cNvSpPr>
            <a:spLocks noGrp="1"/>
          </p:cNvSpPr>
          <p:nvPr>
            <p:ph type="ftr" sz="quarter" idx="11"/>
          </p:nvPr>
        </p:nvSpPr>
        <p:spPr/>
        <p:txBody>
          <a:bodyPr/>
          <a:lstStyle>
            <a:lvl1pPr>
              <a:defRPr/>
            </a:lvl1pPr>
          </a:lstStyle>
          <a:p>
            <a:pPr>
              <a:defRPr/>
            </a:pPr>
            <a:endParaRPr lang="pt-PT"/>
          </a:p>
        </p:txBody>
      </p:sp>
      <p:sp>
        <p:nvSpPr>
          <p:cNvPr id="4" name="Marcador de Posição do Número do Diapositivo 5">
            <a:extLst>
              <a:ext uri="{FF2B5EF4-FFF2-40B4-BE49-F238E27FC236}">
                <a16:creationId xmlns:a16="http://schemas.microsoft.com/office/drawing/2014/main" id="{4EE39D41-EA42-48E9-98C5-E44E9AD5100A}"/>
              </a:ext>
            </a:extLst>
          </p:cNvPr>
          <p:cNvSpPr>
            <a:spLocks noGrp="1"/>
          </p:cNvSpPr>
          <p:nvPr>
            <p:ph type="sldNum" sz="quarter" idx="12"/>
          </p:nvPr>
        </p:nvSpPr>
        <p:spPr/>
        <p:txBody>
          <a:bodyPr/>
          <a:lstStyle>
            <a:lvl1pPr>
              <a:defRPr/>
            </a:lvl1pPr>
          </a:lstStyle>
          <a:p>
            <a:fld id="{47123F3C-C237-4C9B-A4BA-7E21EF6AC6A3}" type="slidenum">
              <a:rPr lang="pt-PT" altLang="en-US"/>
              <a:pPr/>
              <a:t>‹#›</a:t>
            </a:fld>
            <a:endParaRPr lang="pt-PT" altLang="en-US"/>
          </a:p>
        </p:txBody>
      </p:sp>
    </p:spTree>
    <p:extLst>
      <p:ext uri="{BB962C8B-B14F-4D97-AF65-F5344CB8AC3E}">
        <p14:creationId xmlns:p14="http://schemas.microsoft.com/office/powerpoint/2010/main" val="127668896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9D8AD80-4581-448B-9AE9-A1D8CA88EC2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924675" y="5538790"/>
            <a:ext cx="1993900" cy="1152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p:txBody>
          <a:bodyPr/>
          <a:lstStyle/>
          <a:p>
            <a:r>
              <a:rPr lang="en-US"/>
              <a:t>Click to edit Master title style</a:t>
            </a:r>
          </a:p>
        </p:txBody>
      </p:sp>
      <p:sp>
        <p:nvSpPr>
          <p:cNvPr id="4" name="Date Placeholder 2">
            <a:extLst>
              <a:ext uri="{FF2B5EF4-FFF2-40B4-BE49-F238E27FC236}">
                <a16:creationId xmlns:a16="http://schemas.microsoft.com/office/drawing/2014/main" id="{7B3111AF-950F-423E-A681-EC0C601AB7BD}"/>
              </a:ext>
            </a:extLst>
          </p:cNvPr>
          <p:cNvSpPr>
            <a:spLocks noGrp="1"/>
          </p:cNvSpPr>
          <p:nvPr>
            <p:ph type="dt" sz="half" idx="10"/>
          </p:nvPr>
        </p:nvSpPr>
        <p:spPr/>
        <p:txBody>
          <a:bodyPr/>
          <a:lstStyle>
            <a:lvl1pPr>
              <a:defRPr/>
            </a:lvl1pPr>
          </a:lstStyle>
          <a:p>
            <a:pPr>
              <a:defRPr/>
            </a:pPr>
            <a:fld id="{E449CA87-611F-44C0-A415-463AFD5C0E11}" type="datetimeFigureOut">
              <a:rPr lang="en-US"/>
              <a:pPr>
                <a:defRPr/>
              </a:pPr>
              <a:t>1/30/2020</a:t>
            </a:fld>
            <a:endParaRPr lang="en-US"/>
          </a:p>
        </p:txBody>
      </p:sp>
      <p:sp>
        <p:nvSpPr>
          <p:cNvPr id="5" name="Footer Placeholder 3">
            <a:extLst>
              <a:ext uri="{FF2B5EF4-FFF2-40B4-BE49-F238E27FC236}">
                <a16:creationId xmlns:a16="http://schemas.microsoft.com/office/drawing/2014/main" id="{27A3CAFE-7781-4B38-9964-C9A99BB54D8B}"/>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4">
            <a:extLst>
              <a:ext uri="{FF2B5EF4-FFF2-40B4-BE49-F238E27FC236}">
                <a16:creationId xmlns:a16="http://schemas.microsoft.com/office/drawing/2014/main" id="{4821F199-E17F-435F-8AF1-8E76D194AC56}"/>
              </a:ext>
            </a:extLst>
          </p:cNvPr>
          <p:cNvSpPr>
            <a:spLocks noGrp="1"/>
          </p:cNvSpPr>
          <p:nvPr>
            <p:ph type="sldNum" sz="quarter" idx="12"/>
          </p:nvPr>
        </p:nvSpPr>
        <p:spPr/>
        <p:txBody>
          <a:bodyPr/>
          <a:lstStyle>
            <a:lvl1pPr>
              <a:defRPr/>
            </a:lvl1pPr>
          </a:lstStyle>
          <a:p>
            <a:fld id="{B0B9477C-9681-4C57-8FC2-5F71538327CA}" type="slidenum">
              <a:rPr lang="en-US" altLang="en-US"/>
              <a:pPr/>
              <a:t>‹#›</a:t>
            </a:fld>
            <a:endParaRPr lang="en-US" altLang="en-US"/>
          </a:p>
        </p:txBody>
      </p:sp>
    </p:spTree>
    <p:extLst>
      <p:ext uri="{BB962C8B-B14F-4D97-AF65-F5344CB8AC3E}">
        <p14:creationId xmlns:p14="http://schemas.microsoft.com/office/powerpoint/2010/main" val="273043962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9">
            <a:extLst>
              <a:ext uri="{FF2B5EF4-FFF2-40B4-BE49-F238E27FC236}">
                <a16:creationId xmlns:a16="http://schemas.microsoft.com/office/drawing/2014/main" id="{DCBD05D3-8F8F-4EE1-8C56-AFEEE5D30F6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889750" y="5519740"/>
            <a:ext cx="1989138" cy="1152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Date Placeholder 1">
            <a:extLst>
              <a:ext uri="{FF2B5EF4-FFF2-40B4-BE49-F238E27FC236}">
                <a16:creationId xmlns:a16="http://schemas.microsoft.com/office/drawing/2014/main" id="{E55AE6BB-F2B9-4E67-89BF-343CEDA359E1}"/>
              </a:ext>
            </a:extLst>
          </p:cNvPr>
          <p:cNvSpPr>
            <a:spLocks noGrp="1"/>
          </p:cNvSpPr>
          <p:nvPr>
            <p:ph type="dt" sz="half" idx="10"/>
          </p:nvPr>
        </p:nvSpPr>
        <p:spPr/>
        <p:txBody>
          <a:bodyPr/>
          <a:lstStyle>
            <a:lvl1pPr>
              <a:defRPr/>
            </a:lvl1pPr>
          </a:lstStyle>
          <a:p>
            <a:pPr>
              <a:defRPr/>
            </a:pPr>
            <a:fld id="{C3137619-E0A8-47E8-A2F0-7E5E7ED9BA6C}" type="datetimeFigureOut">
              <a:rPr lang="en-US"/>
              <a:pPr>
                <a:defRPr/>
              </a:pPr>
              <a:t>1/30/2020</a:t>
            </a:fld>
            <a:endParaRPr lang="en-US"/>
          </a:p>
        </p:txBody>
      </p:sp>
      <p:sp>
        <p:nvSpPr>
          <p:cNvPr id="4" name="Footer Placeholder 2">
            <a:extLst>
              <a:ext uri="{FF2B5EF4-FFF2-40B4-BE49-F238E27FC236}">
                <a16:creationId xmlns:a16="http://schemas.microsoft.com/office/drawing/2014/main" id="{D132DBA2-1EC8-4C97-BF91-E6156B214907}"/>
              </a:ext>
            </a:extLst>
          </p:cNvPr>
          <p:cNvSpPr>
            <a:spLocks noGrp="1"/>
          </p:cNvSpPr>
          <p:nvPr>
            <p:ph type="ftr" sz="quarter" idx="11"/>
          </p:nvPr>
        </p:nvSpPr>
        <p:spPr/>
        <p:txBody>
          <a:bodyPr/>
          <a:lstStyle>
            <a:lvl1pPr>
              <a:defRPr/>
            </a:lvl1pPr>
          </a:lstStyle>
          <a:p>
            <a:pPr>
              <a:defRPr/>
            </a:pPr>
            <a:endParaRPr lang="en-US"/>
          </a:p>
        </p:txBody>
      </p:sp>
      <p:sp>
        <p:nvSpPr>
          <p:cNvPr id="5" name="Slide Number Placeholder 3">
            <a:extLst>
              <a:ext uri="{FF2B5EF4-FFF2-40B4-BE49-F238E27FC236}">
                <a16:creationId xmlns:a16="http://schemas.microsoft.com/office/drawing/2014/main" id="{4E1CFF5E-3B56-410C-9FB2-99B57B20C398}"/>
              </a:ext>
            </a:extLst>
          </p:cNvPr>
          <p:cNvSpPr>
            <a:spLocks noGrp="1"/>
          </p:cNvSpPr>
          <p:nvPr>
            <p:ph type="sldNum" sz="quarter" idx="12"/>
          </p:nvPr>
        </p:nvSpPr>
        <p:spPr/>
        <p:txBody>
          <a:bodyPr/>
          <a:lstStyle>
            <a:lvl1pPr>
              <a:defRPr/>
            </a:lvl1pPr>
          </a:lstStyle>
          <a:p>
            <a:fld id="{4D9D9BC1-6AAF-4ACE-85AB-6E764BBB2590}" type="slidenum">
              <a:rPr lang="en-US" altLang="en-US"/>
              <a:pPr/>
              <a:t>‹#›</a:t>
            </a:fld>
            <a:endParaRPr lang="en-US" altLang="en-US"/>
          </a:p>
        </p:txBody>
      </p:sp>
    </p:spTree>
    <p:extLst>
      <p:ext uri="{BB962C8B-B14F-4D97-AF65-F5344CB8AC3E}">
        <p14:creationId xmlns:p14="http://schemas.microsoft.com/office/powerpoint/2010/main" val="337440440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81CA1E4-C0AA-4E00-B3BA-6888004EDDCC}"/>
              </a:ext>
            </a:extLst>
          </p:cNvPr>
          <p:cNvSpPr/>
          <p:nvPr/>
        </p:nvSpPr>
        <p:spPr>
          <a:xfrm>
            <a:off x="0" y="0"/>
            <a:ext cx="9144000" cy="6858000"/>
          </a:xfrm>
          <a:prstGeom prst="rect">
            <a:avLst/>
          </a:prstGeom>
          <a:solidFill>
            <a:srgbClr val="FFFFFF"/>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sz="1800">
              <a:solidFill>
                <a:prstClr val="white"/>
              </a:solidFill>
            </a:endParaRPr>
          </a:p>
        </p:txBody>
      </p:sp>
      <p:sp useBgFill="1">
        <p:nvSpPr>
          <p:cNvPr id="6" name="Rounded Rectangle 10">
            <a:extLst>
              <a:ext uri="{FF2B5EF4-FFF2-40B4-BE49-F238E27FC236}">
                <a16:creationId xmlns:a16="http://schemas.microsoft.com/office/drawing/2014/main" id="{F68BE872-DDAE-4797-B01B-CAF0214AE08D}"/>
              </a:ext>
            </a:extLst>
          </p:cNvPr>
          <p:cNvSpPr/>
          <p:nvPr/>
        </p:nvSpPr>
        <p:spPr>
          <a:xfrm>
            <a:off x="63501" y="69850"/>
            <a:ext cx="9013825" cy="6692900"/>
          </a:xfrm>
          <a:prstGeom prst="roundRect">
            <a:avLst>
              <a:gd name="adj" fmla="val 4929"/>
            </a:avLst>
          </a:prstGeom>
          <a:ln w="6350" cap="sq" cmpd="sng" algn="ctr">
            <a:solidFill>
              <a:schemeClr val="tx1">
                <a:alpha val="100000"/>
              </a:schemeClr>
            </a:solidFill>
            <a:prstDash val="solid"/>
          </a:ln>
          <a:effectLst/>
        </p:spPr>
        <p:style>
          <a:lnRef idx="3">
            <a:schemeClr val="lt1"/>
          </a:lnRef>
          <a:fillRef idx="1001">
            <a:schemeClr val="lt1"/>
          </a:fillRef>
          <a:effectRef idx="1">
            <a:schemeClr val="accent1"/>
          </a:effectRef>
          <a:fontRef idx="minor">
            <a:schemeClr val="lt1"/>
          </a:fontRef>
        </p:style>
        <p:txBody>
          <a:bodyPr anchor="ctr"/>
          <a:lstStyle/>
          <a:p>
            <a:pPr algn="ctr" fontAlgn="auto">
              <a:spcBef>
                <a:spcPts val="0"/>
              </a:spcBef>
              <a:spcAft>
                <a:spcPts val="0"/>
              </a:spcAft>
              <a:defRPr/>
            </a:pPr>
            <a:endParaRPr lang="en-US" sz="1800">
              <a:solidFill>
                <a:prstClr val="white"/>
              </a:solidFill>
            </a:endParaRPr>
          </a:p>
        </p:txBody>
      </p:sp>
      <p:pic>
        <p:nvPicPr>
          <p:cNvPr id="7" name="Picture 11">
            <a:extLst>
              <a:ext uri="{FF2B5EF4-FFF2-40B4-BE49-F238E27FC236}">
                <a16:creationId xmlns:a16="http://schemas.microsoft.com/office/drawing/2014/main" id="{817E885C-4B2D-41CE-95AD-D960B636F98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935789" y="5519740"/>
            <a:ext cx="1989137" cy="1152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914400" y="273050"/>
            <a:ext cx="7772400" cy="1143000"/>
          </a:xfrm>
        </p:spPr>
        <p:txBody>
          <a:bodyPr/>
          <a:lstStyle>
            <a:lvl1pPr algn="l">
              <a:buNone/>
              <a:defRPr sz="4000" b="0"/>
            </a:lvl1pPr>
          </a:lstStyle>
          <a:p>
            <a:r>
              <a:rPr lang="en-US"/>
              <a:t>Click to edit Master title style</a:t>
            </a:r>
          </a:p>
        </p:txBody>
      </p:sp>
      <p:sp>
        <p:nvSpPr>
          <p:cNvPr id="3" name="Text Placeholder 2"/>
          <p:cNvSpPr>
            <a:spLocks noGrp="1"/>
          </p:cNvSpPr>
          <p:nvPr>
            <p:ph type="body" idx="2"/>
          </p:nvPr>
        </p:nvSpPr>
        <p:spPr>
          <a:xfrm>
            <a:off x="914400" y="1600200"/>
            <a:ext cx="1905000" cy="4495800"/>
          </a:xfrm>
        </p:spPr>
        <p:txBody>
          <a:bodyPr/>
          <a:lstStyle>
            <a:lvl1pPr marL="0" indent="0">
              <a:buNone/>
              <a:defRPr sz="1800"/>
            </a:lvl1pPr>
            <a:lvl2pPr>
              <a:buNone/>
              <a:defRPr sz="1200"/>
            </a:lvl2pPr>
            <a:lvl3pPr>
              <a:buNone/>
              <a:defRPr sz="1000"/>
            </a:lvl3pPr>
            <a:lvl4pPr>
              <a:buNone/>
              <a:defRPr sz="900"/>
            </a:lvl4pPr>
            <a:lvl5pPr>
              <a:buNone/>
              <a:defRPr sz="900"/>
            </a:lvl5pPr>
          </a:lstStyle>
          <a:p>
            <a:pPr lvl="0"/>
            <a:r>
              <a:rPr lang="en-US"/>
              <a:t>Click to edit Master text styles</a:t>
            </a:r>
          </a:p>
        </p:txBody>
      </p:sp>
      <p:sp>
        <p:nvSpPr>
          <p:cNvPr id="11" name="Content Placeholder 10"/>
          <p:cNvSpPr>
            <a:spLocks noGrp="1"/>
          </p:cNvSpPr>
          <p:nvPr>
            <p:ph sz="quarter" idx="1"/>
          </p:nvPr>
        </p:nvSpPr>
        <p:spPr>
          <a:xfrm>
            <a:off x="2971800" y="1600200"/>
            <a:ext cx="5715000" cy="449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4">
            <a:extLst>
              <a:ext uri="{FF2B5EF4-FFF2-40B4-BE49-F238E27FC236}">
                <a16:creationId xmlns:a16="http://schemas.microsoft.com/office/drawing/2014/main" id="{CEE9432C-A242-4A73-A48A-260C5A87E608}"/>
              </a:ext>
            </a:extLst>
          </p:cNvPr>
          <p:cNvSpPr>
            <a:spLocks noGrp="1"/>
          </p:cNvSpPr>
          <p:nvPr>
            <p:ph type="dt" sz="half" idx="10"/>
          </p:nvPr>
        </p:nvSpPr>
        <p:spPr/>
        <p:txBody>
          <a:bodyPr/>
          <a:lstStyle>
            <a:lvl1pPr>
              <a:defRPr/>
            </a:lvl1pPr>
          </a:lstStyle>
          <a:p>
            <a:pPr>
              <a:defRPr/>
            </a:pPr>
            <a:fld id="{D27269C1-0D38-4431-9C75-940E98C51A68}" type="datetimeFigureOut">
              <a:rPr lang="en-US"/>
              <a:pPr>
                <a:defRPr/>
              </a:pPr>
              <a:t>1/30/2020</a:t>
            </a:fld>
            <a:endParaRPr lang="en-US"/>
          </a:p>
        </p:txBody>
      </p:sp>
      <p:sp>
        <p:nvSpPr>
          <p:cNvPr id="9" name="Footer Placeholder 5">
            <a:extLst>
              <a:ext uri="{FF2B5EF4-FFF2-40B4-BE49-F238E27FC236}">
                <a16:creationId xmlns:a16="http://schemas.microsoft.com/office/drawing/2014/main" id="{EDCC78F7-DCEB-4392-9118-43EA14DE712E}"/>
              </a:ext>
            </a:extLst>
          </p:cNvPr>
          <p:cNvSpPr>
            <a:spLocks noGrp="1"/>
          </p:cNvSpPr>
          <p:nvPr>
            <p:ph type="ftr" sz="quarter" idx="11"/>
          </p:nvPr>
        </p:nvSpPr>
        <p:spPr/>
        <p:txBody>
          <a:bodyPr/>
          <a:lstStyle>
            <a:lvl1pPr>
              <a:defRPr/>
            </a:lvl1pPr>
          </a:lstStyle>
          <a:p>
            <a:pPr>
              <a:defRPr/>
            </a:pPr>
            <a:endParaRPr lang="en-US"/>
          </a:p>
        </p:txBody>
      </p:sp>
      <p:sp>
        <p:nvSpPr>
          <p:cNvPr id="10" name="Slide Number Placeholder 6">
            <a:extLst>
              <a:ext uri="{FF2B5EF4-FFF2-40B4-BE49-F238E27FC236}">
                <a16:creationId xmlns:a16="http://schemas.microsoft.com/office/drawing/2014/main" id="{7ACC9328-1FE3-4483-8566-DF1C8B4BBEC3}"/>
              </a:ext>
            </a:extLst>
          </p:cNvPr>
          <p:cNvSpPr>
            <a:spLocks noGrp="1"/>
          </p:cNvSpPr>
          <p:nvPr>
            <p:ph type="sldNum" sz="quarter" idx="12"/>
          </p:nvPr>
        </p:nvSpPr>
        <p:spPr/>
        <p:txBody>
          <a:bodyPr/>
          <a:lstStyle>
            <a:lvl1pPr>
              <a:defRPr/>
            </a:lvl1pPr>
          </a:lstStyle>
          <a:p>
            <a:fld id="{E583EE8E-404C-4244-B2DC-87A340925C81}" type="slidenum">
              <a:rPr lang="en-US" altLang="en-US"/>
              <a:pPr/>
              <a:t>‹#›</a:t>
            </a:fld>
            <a:endParaRPr lang="en-US" altLang="en-US"/>
          </a:p>
        </p:txBody>
      </p:sp>
    </p:spTree>
    <p:extLst>
      <p:ext uri="{BB962C8B-B14F-4D97-AF65-F5344CB8AC3E}">
        <p14:creationId xmlns:p14="http://schemas.microsoft.com/office/powerpoint/2010/main" val="25835434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61DCE19-0E2D-4EB0-B3B8-5B4E7F37F4E2}"/>
              </a:ext>
            </a:extLst>
          </p:cNvPr>
          <p:cNvSpPr/>
          <p:nvPr/>
        </p:nvSpPr>
        <p:spPr>
          <a:xfrm flipV="1">
            <a:off x="68264" y="4683127"/>
            <a:ext cx="9007475" cy="92075"/>
          </a:xfrm>
          <a:prstGeom prst="rect">
            <a:avLst/>
          </a:prstGeom>
          <a:solidFill>
            <a:schemeClr val="accent1">
              <a:alpha val="10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sz="1800">
              <a:solidFill>
                <a:prstClr val="white"/>
              </a:solidFill>
            </a:endParaRPr>
          </a:p>
        </p:txBody>
      </p:sp>
      <p:sp>
        <p:nvSpPr>
          <p:cNvPr id="6" name="Rectangle 5">
            <a:extLst>
              <a:ext uri="{FF2B5EF4-FFF2-40B4-BE49-F238E27FC236}">
                <a16:creationId xmlns:a16="http://schemas.microsoft.com/office/drawing/2014/main" id="{6EBCD14A-ED04-4D87-B31B-F7ED757C6CFD}"/>
              </a:ext>
            </a:extLst>
          </p:cNvPr>
          <p:cNvSpPr/>
          <p:nvPr/>
        </p:nvSpPr>
        <p:spPr>
          <a:xfrm>
            <a:off x="68264" y="4649790"/>
            <a:ext cx="9007475" cy="46037"/>
          </a:xfrm>
          <a:prstGeom prst="rect">
            <a:avLst/>
          </a:prstGeom>
          <a:solidFill>
            <a:schemeClr val="accent1">
              <a:tint val="6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sz="1800">
              <a:solidFill>
                <a:prstClr val="white"/>
              </a:solidFill>
            </a:endParaRPr>
          </a:p>
        </p:txBody>
      </p:sp>
      <p:sp>
        <p:nvSpPr>
          <p:cNvPr id="7" name="Rectangle 6">
            <a:extLst>
              <a:ext uri="{FF2B5EF4-FFF2-40B4-BE49-F238E27FC236}">
                <a16:creationId xmlns:a16="http://schemas.microsoft.com/office/drawing/2014/main" id="{7B09A35E-4128-4DD9-8C01-3D73C552E076}"/>
              </a:ext>
            </a:extLst>
          </p:cNvPr>
          <p:cNvSpPr/>
          <p:nvPr/>
        </p:nvSpPr>
        <p:spPr>
          <a:xfrm>
            <a:off x="68264" y="4773613"/>
            <a:ext cx="9007475" cy="49212"/>
          </a:xfrm>
          <a:prstGeom prst="rect">
            <a:avLst/>
          </a:prstGeom>
          <a:solidFill>
            <a:schemeClr val="accent5"/>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sz="1800">
              <a:solidFill>
                <a:prstClr val="white"/>
              </a:solidFill>
            </a:endParaRPr>
          </a:p>
        </p:txBody>
      </p:sp>
      <p:sp>
        <p:nvSpPr>
          <p:cNvPr id="2" name="Title 1"/>
          <p:cNvSpPr>
            <a:spLocks noGrp="1"/>
          </p:cNvSpPr>
          <p:nvPr>
            <p:ph type="title"/>
          </p:nvPr>
        </p:nvSpPr>
        <p:spPr>
          <a:xfrm>
            <a:off x="914400" y="4900550"/>
            <a:ext cx="7315200" cy="522288"/>
          </a:xfrm>
        </p:spPr>
        <p:txBody>
          <a:bodyPr anchor="ctr">
            <a:noAutofit/>
          </a:bodyPr>
          <a:lstStyle>
            <a:lvl1pPr algn="l">
              <a:buNone/>
              <a:defRPr sz="2800" b="0"/>
            </a:lvl1pPr>
          </a:lstStyle>
          <a:p>
            <a:r>
              <a:rPr lang="en-US"/>
              <a:t>Click to edit Master title style</a:t>
            </a:r>
          </a:p>
        </p:txBody>
      </p:sp>
      <p:sp>
        <p:nvSpPr>
          <p:cNvPr id="4" name="Text Placeholder 3"/>
          <p:cNvSpPr>
            <a:spLocks noGrp="1"/>
          </p:cNvSpPr>
          <p:nvPr>
            <p:ph type="body" sz="half" idx="2"/>
          </p:nvPr>
        </p:nvSpPr>
        <p:spPr>
          <a:xfrm>
            <a:off x="914400" y="5445825"/>
            <a:ext cx="7315200" cy="685800"/>
          </a:xfrm>
        </p:spPr>
        <p:txBody>
          <a:bodyPr/>
          <a:lstStyle>
            <a:lvl1pPr marL="0" indent="0">
              <a:buFontTx/>
              <a:buNone/>
              <a:defRPr sz="1600"/>
            </a:lvl1pPr>
            <a:lvl2pPr>
              <a:defRPr sz="1200"/>
            </a:lvl2pPr>
            <a:lvl3pPr>
              <a:defRPr sz="1000"/>
            </a:lvl3pPr>
            <a:lvl4pPr>
              <a:defRPr sz="900"/>
            </a:lvl4pPr>
            <a:lvl5pPr>
              <a:defRPr sz="900"/>
            </a:lvl5pPr>
          </a:lstStyle>
          <a:p>
            <a:pPr lvl="0"/>
            <a:r>
              <a:rPr lang="en-US"/>
              <a:t>Click to edit Master text styles</a:t>
            </a:r>
          </a:p>
        </p:txBody>
      </p:sp>
      <p:sp>
        <p:nvSpPr>
          <p:cNvPr id="3" name="Picture Placeholder 2"/>
          <p:cNvSpPr>
            <a:spLocks noGrp="1"/>
          </p:cNvSpPr>
          <p:nvPr>
            <p:ph type="pic" idx="1"/>
          </p:nvPr>
        </p:nvSpPr>
        <p:spPr>
          <a:xfrm>
            <a:off x="68310" y="66677"/>
            <a:ext cx="9001873" cy="4581525"/>
          </a:xfrm>
          <a:prstGeom prst="round2SameRect">
            <a:avLst>
              <a:gd name="adj1" fmla="val 7101"/>
              <a:gd name="adj2" fmla="val 0"/>
            </a:avLst>
          </a:prstGeom>
          <a:solidFill>
            <a:schemeClr val="bg2"/>
          </a:solidFill>
          <a:ln w="6350">
            <a:solidFill>
              <a:schemeClr val="tx1"/>
            </a:solidFill>
          </a:ln>
        </p:spPr>
        <p:txBody>
          <a:bodyPr>
            <a:normAutofit/>
          </a:bodyPr>
          <a:lstStyle>
            <a:lvl1pPr marL="0" indent="0">
              <a:buNone/>
              <a:defRPr sz="3200"/>
            </a:lvl1pPr>
          </a:lstStyle>
          <a:p>
            <a:pPr lvl="0"/>
            <a:r>
              <a:rPr lang="en-US" noProof="0"/>
              <a:t>Click icon to add picture</a:t>
            </a:r>
            <a:endParaRPr lang="en-US" noProof="0" dirty="0"/>
          </a:p>
        </p:txBody>
      </p:sp>
      <p:sp>
        <p:nvSpPr>
          <p:cNvPr id="8" name="Date Placeholder 4">
            <a:extLst>
              <a:ext uri="{FF2B5EF4-FFF2-40B4-BE49-F238E27FC236}">
                <a16:creationId xmlns:a16="http://schemas.microsoft.com/office/drawing/2014/main" id="{349B339A-1E65-4DFA-8564-134B144A80FF}"/>
              </a:ext>
            </a:extLst>
          </p:cNvPr>
          <p:cNvSpPr>
            <a:spLocks noGrp="1"/>
          </p:cNvSpPr>
          <p:nvPr>
            <p:ph type="dt" sz="half" idx="10"/>
          </p:nvPr>
        </p:nvSpPr>
        <p:spPr/>
        <p:txBody>
          <a:bodyPr/>
          <a:lstStyle>
            <a:lvl1pPr>
              <a:defRPr/>
            </a:lvl1pPr>
          </a:lstStyle>
          <a:p>
            <a:pPr>
              <a:defRPr/>
            </a:pPr>
            <a:fld id="{8773A8AD-2011-4AEB-A457-8520F092B770}" type="datetimeFigureOut">
              <a:rPr lang="en-US"/>
              <a:pPr>
                <a:defRPr/>
              </a:pPr>
              <a:t>1/30/2020</a:t>
            </a:fld>
            <a:endParaRPr lang="en-US"/>
          </a:p>
        </p:txBody>
      </p:sp>
      <p:sp>
        <p:nvSpPr>
          <p:cNvPr id="9" name="Footer Placeholder 5">
            <a:extLst>
              <a:ext uri="{FF2B5EF4-FFF2-40B4-BE49-F238E27FC236}">
                <a16:creationId xmlns:a16="http://schemas.microsoft.com/office/drawing/2014/main" id="{39BC3403-07AA-4476-8B83-B4307AC1071C}"/>
              </a:ext>
            </a:extLst>
          </p:cNvPr>
          <p:cNvSpPr>
            <a:spLocks noGrp="1"/>
          </p:cNvSpPr>
          <p:nvPr>
            <p:ph type="ftr" sz="quarter" idx="11"/>
          </p:nvPr>
        </p:nvSpPr>
        <p:spPr>
          <a:xfrm>
            <a:off x="914400" y="6172200"/>
            <a:ext cx="3886200" cy="457200"/>
          </a:xfrm>
        </p:spPr>
        <p:txBody>
          <a:bodyPr/>
          <a:lstStyle>
            <a:lvl1pPr>
              <a:defRPr/>
            </a:lvl1pPr>
          </a:lstStyle>
          <a:p>
            <a:pPr>
              <a:defRPr/>
            </a:pPr>
            <a:endParaRPr lang="en-US"/>
          </a:p>
        </p:txBody>
      </p:sp>
      <p:sp>
        <p:nvSpPr>
          <p:cNvPr id="10" name="Slide Number Placeholder 6">
            <a:extLst>
              <a:ext uri="{FF2B5EF4-FFF2-40B4-BE49-F238E27FC236}">
                <a16:creationId xmlns:a16="http://schemas.microsoft.com/office/drawing/2014/main" id="{F1B83586-B093-4951-BC3F-DF0DF23CFE01}"/>
              </a:ext>
            </a:extLst>
          </p:cNvPr>
          <p:cNvSpPr>
            <a:spLocks noGrp="1"/>
          </p:cNvSpPr>
          <p:nvPr>
            <p:ph type="sldNum" sz="quarter" idx="12"/>
          </p:nvPr>
        </p:nvSpPr>
        <p:spPr>
          <a:xfrm>
            <a:off x="146050" y="6208713"/>
            <a:ext cx="457200" cy="457200"/>
          </a:xfrm>
        </p:spPr>
        <p:txBody>
          <a:bodyPr/>
          <a:lstStyle>
            <a:lvl1pPr>
              <a:defRPr/>
            </a:lvl1pPr>
          </a:lstStyle>
          <a:p>
            <a:fld id="{C064A041-847A-4802-9414-A504154EDC0A}" type="slidenum">
              <a:rPr lang="en-US" altLang="en-US"/>
              <a:pPr/>
              <a:t>‹#›</a:t>
            </a:fld>
            <a:endParaRPr lang="en-US" altLang="en-US"/>
          </a:p>
        </p:txBody>
      </p:sp>
    </p:spTree>
    <p:extLst>
      <p:ext uri="{BB962C8B-B14F-4D97-AF65-F5344CB8AC3E}">
        <p14:creationId xmlns:p14="http://schemas.microsoft.com/office/powerpoint/2010/main" val="213594386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theme" Target="../theme/theme2.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image" Target="../media/image5.png"/><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oleObject" Target="../embeddings/oleObject5.bin"/><Relationship Id="rId2" Type="http://schemas.openxmlformats.org/officeDocument/2006/relationships/slideLayout" Target="../slideLayouts/slideLayout30.xml"/><Relationship Id="rId16" Type="http://schemas.openxmlformats.org/officeDocument/2006/relationships/vmlDrawing" Target="../drawings/vmlDrawing3.v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5" Type="http://schemas.openxmlformats.org/officeDocument/2006/relationships/theme" Target="../theme/theme3.xml"/><Relationship Id="rId10" Type="http://schemas.openxmlformats.org/officeDocument/2006/relationships/slideLayout" Target="../slideLayouts/slideLayout38.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theme" Target="../theme/theme4.xml"/><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0" Type="http://schemas.openxmlformats.org/officeDocument/2006/relationships/slideLayout" Target="../slideLayouts/slideLayout52.xml"/><Relationship Id="rId4" Type="http://schemas.openxmlformats.org/officeDocument/2006/relationships/slideLayout" Target="../slideLayouts/slideLayout46.xml"/><Relationship Id="rId9" Type="http://schemas.openxmlformats.org/officeDocument/2006/relationships/slideLayout" Target="../slideLayouts/slideLayout5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3150E81-E172-4824-BA5D-05B8FBCBD141}"/>
              </a:ext>
            </a:extLst>
          </p:cNvPr>
          <p:cNvSpPr/>
          <p:nvPr/>
        </p:nvSpPr>
        <p:spPr>
          <a:xfrm>
            <a:off x="0" y="0"/>
            <a:ext cx="9144000" cy="6858000"/>
          </a:xfrm>
          <a:prstGeom prst="rect">
            <a:avLst/>
          </a:prstGeom>
          <a:solidFill>
            <a:srgbClr val="FFFFFF"/>
          </a:solidFill>
          <a:ln w="12700" cap="flat" cmpd="sng"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a:solidFill>
                <a:prstClr val="white"/>
              </a:solidFill>
            </a:endParaRPr>
          </a:p>
        </p:txBody>
      </p:sp>
      <p:sp useBgFill="1">
        <p:nvSpPr>
          <p:cNvPr id="8" name="Rounded Rectangle 7">
            <a:extLst>
              <a:ext uri="{FF2B5EF4-FFF2-40B4-BE49-F238E27FC236}">
                <a16:creationId xmlns:a16="http://schemas.microsoft.com/office/drawing/2014/main" id="{AB3E22F9-1E21-4108-A6AB-21B3B5381220}"/>
              </a:ext>
            </a:extLst>
          </p:cNvPr>
          <p:cNvSpPr/>
          <p:nvPr/>
        </p:nvSpPr>
        <p:spPr>
          <a:xfrm>
            <a:off x="63501" y="69850"/>
            <a:ext cx="9013825" cy="6692900"/>
          </a:xfrm>
          <a:prstGeom prst="roundRect">
            <a:avLst>
              <a:gd name="adj" fmla="val 4929"/>
            </a:avLst>
          </a:prstGeom>
          <a:ln w="6350" cap="sq" cmpd="sng" algn="ctr">
            <a:solidFill>
              <a:schemeClr val="tx1">
                <a:alpha val="100000"/>
              </a:schemeClr>
            </a:solidFill>
            <a:prstDash val="solid"/>
          </a:ln>
          <a:effectLst/>
        </p:spPr>
        <p:style>
          <a:lnRef idx="3">
            <a:schemeClr val="lt1"/>
          </a:lnRef>
          <a:fillRef idx="1001">
            <a:schemeClr val="lt1"/>
          </a:fillRef>
          <a:effectRef idx="1">
            <a:schemeClr val="accent1"/>
          </a:effectRef>
          <a:fontRef idx="minor">
            <a:schemeClr val="lt1"/>
          </a:fontRef>
        </p:style>
        <p:txBody>
          <a:bodyPr anchor="ctr"/>
          <a:lstStyle/>
          <a:p>
            <a:pPr algn="ctr" fontAlgn="auto">
              <a:spcBef>
                <a:spcPts val="0"/>
              </a:spcBef>
              <a:spcAft>
                <a:spcPts val="0"/>
              </a:spcAft>
              <a:defRPr/>
            </a:pPr>
            <a:endParaRPr lang="en-US" sz="1800">
              <a:solidFill>
                <a:prstClr val="white"/>
              </a:solidFill>
            </a:endParaRPr>
          </a:p>
        </p:txBody>
      </p:sp>
      <p:sp>
        <p:nvSpPr>
          <p:cNvPr id="1028" name="Title Placeholder 21">
            <a:extLst>
              <a:ext uri="{FF2B5EF4-FFF2-40B4-BE49-F238E27FC236}">
                <a16:creationId xmlns:a16="http://schemas.microsoft.com/office/drawing/2014/main" id="{D74AAABD-3228-40C7-882C-62F10693B72A}"/>
              </a:ext>
            </a:extLst>
          </p:cNvPr>
          <p:cNvSpPr>
            <a:spLocks noGrp="1"/>
          </p:cNvSpPr>
          <p:nvPr>
            <p:ph type="title"/>
          </p:nvPr>
        </p:nvSpPr>
        <p:spPr bwMode="auto">
          <a:xfrm>
            <a:off x="914400" y="274638"/>
            <a:ext cx="77724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91440" numCol="1" anchor="b" anchorCtr="0" compatLnSpc="1">
            <a:prstTxWarp prst="textNoShape">
              <a:avLst/>
            </a:prstTxWarp>
          </a:bodyPr>
          <a:lstStyle/>
          <a:p>
            <a:pPr lvl="0"/>
            <a:r>
              <a:rPr lang="en-US" altLang="en-US"/>
              <a:t>Click to edit Master title style</a:t>
            </a:r>
          </a:p>
        </p:txBody>
      </p:sp>
      <p:sp>
        <p:nvSpPr>
          <p:cNvPr id="1029" name="Text Placeholder 12">
            <a:extLst>
              <a:ext uri="{FF2B5EF4-FFF2-40B4-BE49-F238E27FC236}">
                <a16:creationId xmlns:a16="http://schemas.microsoft.com/office/drawing/2014/main" id="{C147CA45-842D-41D6-B94A-88DD06880A34}"/>
              </a:ext>
            </a:extLst>
          </p:cNvPr>
          <p:cNvSpPr>
            <a:spLocks noGrp="1"/>
          </p:cNvSpPr>
          <p:nvPr>
            <p:ph type="body" idx="1"/>
          </p:nvPr>
        </p:nvSpPr>
        <p:spPr bwMode="auto">
          <a:xfrm>
            <a:off x="914400" y="1447800"/>
            <a:ext cx="7772400" cy="45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4" name="Date Placeholder 13">
            <a:extLst>
              <a:ext uri="{FF2B5EF4-FFF2-40B4-BE49-F238E27FC236}">
                <a16:creationId xmlns:a16="http://schemas.microsoft.com/office/drawing/2014/main" id="{DE5950D5-F80D-4ADE-B110-28C163B4CB4F}"/>
              </a:ext>
            </a:extLst>
          </p:cNvPr>
          <p:cNvSpPr>
            <a:spLocks noGrp="1"/>
          </p:cNvSpPr>
          <p:nvPr>
            <p:ph type="dt" sz="half" idx="2"/>
          </p:nvPr>
        </p:nvSpPr>
        <p:spPr>
          <a:xfrm>
            <a:off x="6172200" y="6191250"/>
            <a:ext cx="2476500" cy="476250"/>
          </a:xfrm>
          <a:prstGeom prst="rect">
            <a:avLst/>
          </a:prstGeom>
        </p:spPr>
        <p:txBody>
          <a:bodyPr anchor="ctr" anchorCtr="0"/>
          <a:lstStyle>
            <a:lvl1pPr algn="r" eaLnBrk="1" fontAlgn="auto" latinLnBrk="0" hangingPunct="1">
              <a:spcBef>
                <a:spcPts val="0"/>
              </a:spcBef>
              <a:spcAft>
                <a:spcPts val="0"/>
              </a:spcAft>
              <a:defRPr kumimoji="0" sz="1400" smtClean="0">
                <a:solidFill>
                  <a:srgbClr val="696464"/>
                </a:solidFill>
                <a:latin typeface="+mn-lt"/>
                <a:cs typeface="+mn-cs"/>
              </a:defRPr>
            </a:lvl1pPr>
          </a:lstStyle>
          <a:p>
            <a:pPr>
              <a:defRPr/>
            </a:pPr>
            <a:fld id="{7AA0EA55-D2DC-46AF-995D-D8F5F8F24BCB}" type="datetimeFigureOut">
              <a:rPr lang="en-US"/>
              <a:pPr>
                <a:defRPr/>
              </a:pPr>
              <a:t>1/30/2020</a:t>
            </a:fld>
            <a:endParaRPr lang="en-US"/>
          </a:p>
        </p:txBody>
      </p:sp>
      <p:sp>
        <p:nvSpPr>
          <p:cNvPr id="3" name="Footer Placeholder 2">
            <a:extLst>
              <a:ext uri="{FF2B5EF4-FFF2-40B4-BE49-F238E27FC236}">
                <a16:creationId xmlns:a16="http://schemas.microsoft.com/office/drawing/2014/main" id="{995DF018-F4E5-45F5-B427-21005364176F}"/>
              </a:ext>
            </a:extLst>
          </p:cNvPr>
          <p:cNvSpPr>
            <a:spLocks noGrp="1"/>
          </p:cNvSpPr>
          <p:nvPr>
            <p:ph type="ftr" sz="quarter" idx="3"/>
          </p:nvPr>
        </p:nvSpPr>
        <p:spPr>
          <a:xfrm>
            <a:off x="914400" y="6172200"/>
            <a:ext cx="3962400" cy="457200"/>
          </a:xfrm>
          <a:prstGeom prst="rect">
            <a:avLst/>
          </a:prstGeom>
        </p:spPr>
        <p:txBody>
          <a:bodyPr anchor="ctr" anchorCtr="0"/>
          <a:lstStyle>
            <a:lvl1pPr eaLnBrk="1" fontAlgn="auto" latinLnBrk="0" hangingPunct="1">
              <a:spcBef>
                <a:spcPts val="0"/>
              </a:spcBef>
              <a:spcAft>
                <a:spcPts val="0"/>
              </a:spcAft>
              <a:defRPr kumimoji="0" sz="1400">
                <a:solidFill>
                  <a:srgbClr val="696464"/>
                </a:solidFill>
                <a:latin typeface="+mn-lt"/>
                <a:cs typeface="+mn-cs"/>
              </a:defRPr>
            </a:lvl1pPr>
          </a:lstStyle>
          <a:p>
            <a:pPr>
              <a:defRPr/>
            </a:pPr>
            <a:endParaRPr lang="en-US"/>
          </a:p>
        </p:txBody>
      </p:sp>
      <p:sp>
        <p:nvSpPr>
          <p:cNvPr id="23" name="Slide Number Placeholder 22">
            <a:extLst>
              <a:ext uri="{FF2B5EF4-FFF2-40B4-BE49-F238E27FC236}">
                <a16:creationId xmlns:a16="http://schemas.microsoft.com/office/drawing/2014/main" id="{E3582C6F-31C2-416B-A61B-2E14B03D6296}"/>
              </a:ext>
            </a:extLst>
          </p:cNvPr>
          <p:cNvSpPr>
            <a:spLocks noGrp="1"/>
          </p:cNvSpPr>
          <p:nvPr>
            <p:ph type="sldNum" sz="quarter" idx="4"/>
          </p:nvPr>
        </p:nvSpPr>
        <p:spPr>
          <a:xfrm>
            <a:off x="146050" y="6210300"/>
            <a:ext cx="457200" cy="457200"/>
          </a:xfrm>
          <a:prstGeom prst="ellipse">
            <a:avLst/>
          </a:prstGeom>
          <a:solidFill>
            <a:schemeClr val="accent1"/>
          </a:solidFill>
        </p:spPr>
        <p:txBody>
          <a:bodyPr vert="horz" wrap="none" lIns="0" tIns="0" rIns="0" bIns="0" numCol="1" anchor="ctr" anchorCtr="1" compatLnSpc="1">
            <a:prstTxWarp prst="textNoShape">
              <a:avLst/>
            </a:prstTxWarp>
            <a:noAutofit/>
          </a:bodyPr>
          <a:lstStyle>
            <a:lvl1pPr algn="ctr">
              <a:defRPr sz="1400">
                <a:solidFill>
                  <a:srgbClr val="FFFFFF"/>
                </a:solidFill>
                <a:latin typeface="Franklin Gothic Book" panose="020B0503020102020204" pitchFamily="34" charset="0"/>
              </a:defRPr>
            </a:lvl1pPr>
          </a:lstStyle>
          <a:p>
            <a:fld id="{D77237F0-1B99-41B5-A965-E1B8A03E44BA}" type="slidenum">
              <a:rPr lang="en-US" altLang="en-US"/>
              <a:pPr/>
              <a:t>‹#›</a:t>
            </a:fld>
            <a:endParaRPr lang="en-US" altLang="en-US"/>
          </a:p>
        </p:txBody>
      </p:sp>
    </p:spTree>
    <p:extLst>
      <p:ext uri="{BB962C8B-B14F-4D97-AF65-F5344CB8AC3E}">
        <p14:creationId xmlns:p14="http://schemas.microsoft.com/office/powerpoint/2010/main" val="53760297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Lst>
  <p:txStyles>
    <p:titleStyle>
      <a:lvl1pPr algn="l" rtl="0" fontAlgn="base">
        <a:spcBef>
          <a:spcPct val="0"/>
        </a:spcBef>
        <a:spcAft>
          <a:spcPct val="0"/>
        </a:spcAft>
        <a:defRPr sz="4000" kern="1200">
          <a:solidFill>
            <a:schemeClr val="tx2"/>
          </a:solidFill>
          <a:latin typeface="+mj-lt"/>
          <a:ea typeface="+mj-ea"/>
          <a:cs typeface="+mj-cs"/>
        </a:defRPr>
      </a:lvl1pPr>
      <a:lvl2pPr algn="l" rtl="0" fontAlgn="base">
        <a:spcBef>
          <a:spcPct val="0"/>
        </a:spcBef>
        <a:spcAft>
          <a:spcPct val="0"/>
        </a:spcAft>
        <a:defRPr sz="4000">
          <a:solidFill>
            <a:schemeClr val="tx2"/>
          </a:solidFill>
          <a:latin typeface="Franklin Gothic Book" panose="020B0503020102020204" pitchFamily="34" charset="0"/>
        </a:defRPr>
      </a:lvl2pPr>
      <a:lvl3pPr algn="l" rtl="0" fontAlgn="base">
        <a:spcBef>
          <a:spcPct val="0"/>
        </a:spcBef>
        <a:spcAft>
          <a:spcPct val="0"/>
        </a:spcAft>
        <a:defRPr sz="4000">
          <a:solidFill>
            <a:schemeClr val="tx2"/>
          </a:solidFill>
          <a:latin typeface="Franklin Gothic Book" panose="020B0503020102020204" pitchFamily="34" charset="0"/>
        </a:defRPr>
      </a:lvl3pPr>
      <a:lvl4pPr algn="l" rtl="0" fontAlgn="base">
        <a:spcBef>
          <a:spcPct val="0"/>
        </a:spcBef>
        <a:spcAft>
          <a:spcPct val="0"/>
        </a:spcAft>
        <a:defRPr sz="4000">
          <a:solidFill>
            <a:schemeClr val="tx2"/>
          </a:solidFill>
          <a:latin typeface="Franklin Gothic Book" panose="020B0503020102020204" pitchFamily="34" charset="0"/>
        </a:defRPr>
      </a:lvl4pPr>
      <a:lvl5pPr algn="l" rtl="0" fontAlgn="base">
        <a:spcBef>
          <a:spcPct val="0"/>
        </a:spcBef>
        <a:spcAft>
          <a:spcPct val="0"/>
        </a:spcAft>
        <a:defRPr sz="4000">
          <a:solidFill>
            <a:schemeClr val="tx2"/>
          </a:solidFill>
          <a:latin typeface="Franklin Gothic Book" panose="020B0503020102020204" pitchFamily="34" charset="0"/>
        </a:defRPr>
      </a:lvl5pPr>
      <a:lvl6pPr marL="457200" algn="l" rtl="0" fontAlgn="base">
        <a:spcBef>
          <a:spcPct val="0"/>
        </a:spcBef>
        <a:spcAft>
          <a:spcPct val="0"/>
        </a:spcAft>
        <a:defRPr sz="4000">
          <a:solidFill>
            <a:schemeClr val="tx2"/>
          </a:solidFill>
          <a:latin typeface="Franklin Gothic Book" panose="020B0503020102020204" pitchFamily="34" charset="0"/>
        </a:defRPr>
      </a:lvl6pPr>
      <a:lvl7pPr marL="914400" algn="l" rtl="0" fontAlgn="base">
        <a:spcBef>
          <a:spcPct val="0"/>
        </a:spcBef>
        <a:spcAft>
          <a:spcPct val="0"/>
        </a:spcAft>
        <a:defRPr sz="4000">
          <a:solidFill>
            <a:schemeClr val="tx2"/>
          </a:solidFill>
          <a:latin typeface="Franklin Gothic Book" panose="020B0503020102020204" pitchFamily="34" charset="0"/>
        </a:defRPr>
      </a:lvl7pPr>
      <a:lvl8pPr marL="1371600" algn="l" rtl="0" fontAlgn="base">
        <a:spcBef>
          <a:spcPct val="0"/>
        </a:spcBef>
        <a:spcAft>
          <a:spcPct val="0"/>
        </a:spcAft>
        <a:defRPr sz="4000">
          <a:solidFill>
            <a:schemeClr val="tx2"/>
          </a:solidFill>
          <a:latin typeface="Franklin Gothic Book" panose="020B0503020102020204" pitchFamily="34" charset="0"/>
        </a:defRPr>
      </a:lvl8pPr>
      <a:lvl9pPr marL="1828800" algn="l" rtl="0" fontAlgn="base">
        <a:spcBef>
          <a:spcPct val="0"/>
        </a:spcBef>
        <a:spcAft>
          <a:spcPct val="0"/>
        </a:spcAft>
        <a:defRPr sz="4000">
          <a:solidFill>
            <a:schemeClr val="tx2"/>
          </a:solidFill>
          <a:latin typeface="Franklin Gothic Book" panose="020B0503020102020204" pitchFamily="34" charset="0"/>
        </a:defRPr>
      </a:lvl9pPr>
    </p:titleStyle>
    <p:bodyStyle>
      <a:lvl1pPr marL="273050" indent="-273050" algn="l" rtl="0" fontAlgn="base">
        <a:spcBef>
          <a:spcPts val="575"/>
        </a:spcBef>
        <a:spcAft>
          <a:spcPct val="0"/>
        </a:spcAft>
        <a:buClr>
          <a:schemeClr val="accent1"/>
        </a:buClr>
        <a:buSzPct val="85000"/>
        <a:buFont typeface="Wingdings 2" panose="05020102010507070707" pitchFamily="18" charset="2"/>
        <a:buChar char=""/>
        <a:defRPr sz="2600" kern="1200">
          <a:solidFill>
            <a:schemeClr val="tx1"/>
          </a:solidFill>
          <a:latin typeface="+mn-lt"/>
          <a:ea typeface="+mn-ea"/>
          <a:cs typeface="+mn-cs"/>
        </a:defRPr>
      </a:lvl1pPr>
      <a:lvl2pPr marL="547688" indent="-228600" algn="l" rtl="0" fontAlgn="base">
        <a:spcBef>
          <a:spcPts val="375"/>
        </a:spcBef>
        <a:spcAft>
          <a:spcPct val="0"/>
        </a:spcAft>
        <a:buClr>
          <a:schemeClr val="accent2"/>
        </a:buClr>
        <a:buSzPct val="85000"/>
        <a:buFont typeface="Wingdings 2" panose="05020102010507070707" pitchFamily="18" charset="2"/>
        <a:buChar char=""/>
        <a:defRPr sz="2400" kern="1200">
          <a:solidFill>
            <a:schemeClr val="tx1"/>
          </a:solidFill>
          <a:latin typeface="+mn-lt"/>
          <a:ea typeface="+mn-ea"/>
          <a:cs typeface="+mn-cs"/>
        </a:defRPr>
      </a:lvl2pPr>
      <a:lvl3pPr marL="822325" indent="-228600" algn="l" rtl="0" fontAlgn="base">
        <a:spcBef>
          <a:spcPts val="375"/>
        </a:spcBef>
        <a:spcAft>
          <a:spcPct val="0"/>
        </a:spcAft>
        <a:buClr>
          <a:srgbClr val="E6B1AB"/>
        </a:buClr>
        <a:buSzPct val="85000"/>
        <a:buFont typeface="Wingdings 2" panose="05020102010507070707" pitchFamily="18" charset="2"/>
        <a:buChar char=""/>
        <a:defRPr sz="2000" kern="1200">
          <a:solidFill>
            <a:schemeClr val="tx1"/>
          </a:solidFill>
          <a:latin typeface="+mn-lt"/>
          <a:ea typeface="+mn-ea"/>
          <a:cs typeface="+mn-cs"/>
        </a:defRPr>
      </a:lvl3pPr>
      <a:lvl4pPr marL="1096963" indent="-228600" algn="l" rtl="0" fontAlgn="base">
        <a:spcBef>
          <a:spcPts val="375"/>
        </a:spcBef>
        <a:spcAft>
          <a:spcPct val="0"/>
        </a:spcAft>
        <a:buClr>
          <a:srgbClr val="A28E6A"/>
        </a:buClr>
        <a:buSzPct val="80000"/>
        <a:buFont typeface="Wingdings 2" panose="05020102010507070707" pitchFamily="18" charset="2"/>
        <a:buChar char=""/>
        <a:defRPr sz="2000" kern="1200">
          <a:solidFill>
            <a:schemeClr val="tx1"/>
          </a:solidFill>
          <a:latin typeface="+mn-lt"/>
          <a:ea typeface="+mn-ea"/>
          <a:cs typeface="+mn-cs"/>
        </a:defRPr>
      </a:lvl4pPr>
      <a:lvl5pPr marL="1371600" indent="-228600" algn="l" rtl="0" fontAlgn="base">
        <a:spcBef>
          <a:spcPts val="375"/>
        </a:spcBef>
        <a:spcAft>
          <a:spcPct val="0"/>
        </a:spcAft>
        <a:buClr>
          <a:srgbClr val="A28E6A"/>
        </a:buClr>
        <a:buChar char="o"/>
        <a:defRPr sz="2000" kern="1200">
          <a:solidFill>
            <a:schemeClr val="tx1"/>
          </a:solidFill>
          <a:latin typeface="+mn-lt"/>
          <a:ea typeface="+mn-ea"/>
          <a:cs typeface="+mn-cs"/>
        </a:defRPr>
      </a:lvl5pPr>
      <a:lvl6pPr marL="1645920" indent="-228600" algn="l" rtl="0" eaLnBrk="1" latinLnBrk="0" hangingPunct="1">
        <a:spcBef>
          <a:spcPts val="370"/>
        </a:spcBef>
        <a:buClr>
          <a:schemeClr val="accent3"/>
        </a:buClr>
        <a:buChar char="•"/>
        <a:defRPr kumimoji="0" sz="1800" kern="1200" baseline="0">
          <a:solidFill>
            <a:schemeClr val="tx1"/>
          </a:solidFill>
          <a:latin typeface="+mn-lt"/>
          <a:ea typeface="+mn-ea"/>
          <a:cs typeface="+mn-cs"/>
        </a:defRPr>
      </a:lvl6pPr>
      <a:lvl7pPr marL="1920240" indent="-228600" algn="l" rtl="0" eaLnBrk="1" latinLnBrk="0" hangingPunct="1">
        <a:spcBef>
          <a:spcPts val="370"/>
        </a:spcBef>
        <a:buClr>
          <a:schemeClr val="accent2"/>
        </a:buClr>
        <a:buChar char="•"/>
        <a:defRPr kumimoji="0" sz="1800" kern="1200">
          <a:solidFill>
            <a:schemeClr val="tx1"/>
          </a:solidFill>
          <a:latin typeface="+mn-lt"/>
          <a:ea typeface="+mn-ea"/>
          <a:cs typeface="+mn-cs"/>
        </a:defRPr>
      </a:lvl7pPr>
      <a:lvl8pPr marL="2194560" indent="-228600" algn="l" rtl="0" eaLnBrk="1" latinLnBrk="0" hangingPunct="1">
        <a:spcBef>
          <a:spcPts val="370"/>
        </a:spcBef>
        <a:buClr>
          <a:schemeClr val="accent1">
            <a:tint val="60000"/>
          </a:schemeClr>
        </a:buClr>
        <a:buChar char="•"/>
        <a:defRPr kumimoji="0" sz="1800" kern="1200">
          <a:solidFill>
            <a:schemeClr val="tx1"/>
          </a:solidFill>
          <a:latin typeface="+mn-lt"/>
          <a:ea typeface="+mn-ea"/>
          <a:cs typeface="+mn-cs"/>
        </a:defRPr>
      </a:lvl8pPr>
      <a:lvl9pPr marL="2468880" indent="-228600" algn="l" rtl="0" eaLnBrk="1" latinLnBrk="0" hangingPunct="1">
        <a:spcBef>
          <a:spcPts val="370"/>
        </a:spcBef>
        <a:buClr>
          <a:schemeClr val="accent2">
            <a:tint val="60000"/>
          </a:schemeClr>
        </a:buClr>
        <a:buChar char="•"/>
        <a:defRPr kumimoji="0" sz="1800" kern="120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Rectangle 8"/>
          <p:cNvSpPr/>
          <p:nvPr/>
        </p:nvSpPr>
        <p:spPr>
          <a:xfrm>
            <a:off x="0" y="0"/>
            <a:ext cx="9144000" cy="6858000"/>
          </a:xfrm>
          <a:prstGeom prst="rect">
            <a:avLst/>
          </a:prstGeom>
          <a:solidFill>
            <a:srgbClr val="FFFFFF"/>
          </a:solidFill>
          <a:ln w="12700" cap="flat" cmpd="sng" algn="ctr">
            <a:noFill/>
            <a:prstDash val="solid"/>
          </a:ln>
        </p:spPr>
        <p:style>
          <a:lnRef idx="2">
            <a:schemeClr val="accent1"/>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sp useBgFill="1">
        <p:nvSpPr>
          <p:cNvPr id="8" name="Rounded Rectangle 7"/>
          <p:cNvSpPr/>
          <p:nvPr/>
        </p:nvSpPr>
        <p:spPr>
          <a:xfrm>
            <a:off x="64008" y="69755"/>
            <a:ext cx="9013372" cy="6693408"/>
          </a:xfrm>
          <a:prstGeom prst="roundRect">
            <a:avLst>
              <a:gd name="adj" fmla="val 4929"/>
            </a:avLst>
          </a:prstGeom>
          <a:ln w="6350" cap="sq" cmpd="sng" algn="ctr">
            <a:solidFill>
              <a:schemeClr val="tx1">
                <a:alpha val="100000"/>
              </a:schemeClr>
            </a:solidFill>
            <a:prstDash val="solid"/>
          </a:ln>
          <a:effectLst/>
        </p:spPr>
        <p:style>
          <a:lnRef idx="3">
            <a:schemeClr val="lt1"/>
          </a:lnRef>
          <a:fillRef idx="1001">
            <a:schemeClr val="lt1"/>
          </a:fillRef>
          <a:effectRef idx="1">
            <a:schemeClr val="accent1"/>
          </a:effectRef>
          <a:fontRef idx="minor">
            <a:schemeClr val="lt1"/>
          </a:fontRef>
        </p:style>
        <p:txBody>
          <a:bodyPr anchor="ctr"/>
          <a:lstStyle/>
          <a:p>
            <a:pPr algn="ctr"/>
            <a:endParaRPr lang="en-US" sz="1800">
              <a:solidFill>
                <a:prstClr val="white"/>
              </a:solidFill>
            </a:endParaRPr>
          </a:p>
        </p:txBody>
      </p:sp>
      <p:sp>
        <p:nvSpPr>
          <p:cNvPr id="22" name="Title Placeholder 21"/>
          <p:cNvSpPr>
            <a:spLocks noGrp="1"/>
          </p:cNvSpPr>
          <p:nvPr>
            <p:ph type="title"/>
          </p:nvPr>
        </p:nvSpPr>
        <p:spPr>
          <a:xfrm>
            <a:off x="914400" y="274638"/>
            <a:ext cx="7772400" cy="1143000"/>
          </a:xfrm>
          <a:prstGeom prst="rect">
            <a:avLst/>
          </a:prstGeom>
        </p:spPr>
        <p:txBody>
          <a:bodyPr bIns="91440" anchor="b" anchorCtr="0">
            <a:normAutofit/>
          </a:bodyPr>
          <a:lstStyle/>
          <a:p>
            <a:r>
              <a:rPr kumimoji="0" lang="en-US"/>
              <a:t>Click to edit Master title style</a:t>
            </a:r>
          </a:p>
        </p:txBody>
      </p:sp>
      <p:sp>
        <p:nvSpPr>
          <p:cNvPr id="13" name="Text Placeholder 12"/>
          <p:cNvSpPr>
            <a:spLocks noGrp="1"/>
          </p:cNvSpPr>
          <p:nvPr>
            <p:ph type="body" idx="1"/>
          </p:nvPr>
        </p:nvSpPr>
        <p:spPr>
          <a:xfrm>
            <a:off x="914400" y="1447800"/>
            <a:ext cx="7772400" cy="4572000"/>
          </a:xfrm>
          <a:prstGeom prst="rect">
            <a:avLst/>
          </a:prstGeom>
        </p:spPr>
        <p:txBody>
          <a:bodyPr>
            <a:normAutofit/>
          </a:bodyPr>
          <a:lstStyle/>
          <a:p>
            <a:pPr lvl="0" eaLnBrk="1" latinLnBrk="0" hangingPunct="1"/>
            <a:r>
              <a:rPr kumimoji="0" lang="en-US"/>
              <a:t>Click to edit Master text styles</a:t>
            </a:r>
          </a:p>
          <a:p>
            <a:pPr lvl="1" eaLnBrk="1" latinLnBrk="0" hangingPunct="1"/>
            <a:r>
              <a:rPr kumimoji="0" lang="en-US"/>
              <a:t>Second level</a:t>
            </a:r>
          </a:p>
          <a:p>
            <a:pPr lvl="2" eaLnBrk="1" latinLnBrk="0" hangingPunct="1"/>
            <a:r>
              <a:rPr kumimoji="0" lang="en-US"/>
              <a:t>Third level</a:t>
            </a:r>
          </a:p>
          <a:p>
            <a:pPr lvl="3" eaLnBrk="1" latinLnBrk="0" hangingPunct="1"/>
            <a:r>
              <a:rPr kumimoji="0" lang="en-US"/>
              <a:t>Fourth level</a:t>
            </a:r>
          </a:p>
          <a:p>
            <a:pPr lvl="4" eaLnBrk="1" latinLnBrk="0" hangingPunct="1"/>
            <a:r>
              <a:rPr kumimoji="0" lang="en-US"/>
              <a:t>Fifth level</a:t>
            </a:r>
          </a:p>
        </p:txBody>
      </p:sp>
      <p:sp>
        <p:nvSpPr>
          <p:cNvPr id="14" name="Date Placeholder 13"/>
          <p:cNvSpPr>
            <a:spLocks noGrp="1"/>
          </p:cNvSpPr>
          <p:nvPr>
            <p:ph type="dt" sz="half" idx="2"/>
          </p:nvPr>
        </p:nvSpPr>
        <p:spPr>
          <a:xfrm>
            <a:off x="6172200" y="6191250"/>
            <a:ext cx="2476500" cy="476250"/>
          </a:xfrm>
          <a:prstGeom prst="rect">
            <a:avLst/>
          </a:prstGeom>
        </p:spPr>
        <p:txBody>
          <a:bodyPr anchor="ctr" anchorCtr="0"/>
          <a:lstStyle>
            <a:lvl1pPr algn="r" eaLnBrk="1" latinLnBrk="0" hangingPunct="1">
              <a:defRPr kumimoji="0" sz="1400">
                <a:solidFill>
                  <a:schemeClr val="tx2"/>
                </a:solidFill>
              </a:defRPr>
            </a:lvl1pPr>
          </a:lstStyle>
          <a:p>
            <a:fld id="{5DD884B5-C999-4FA3-B783-66F11C2D0579}" type="datetimeFigureOut">
              <a:rPr lang="en-US" smtClean="0">
                <a:solidFill>
                  <a:srgbClr val="696464"/>
                </a:solidFill>
              </a:rPr>
              <a:pPr/>
              <a:t>1/30/2020</a:t>
            </a:fld>
            <a:endParaRPr lang="en-US">
              <a:solidFill>
                <a:srgbClr val="696464"/>
              </a:solidFill>
            </a:endParaRPr>
          </a:p>
        </p:txBody>
      </p:sp>
      <p:sp>
        <p:nvSpPr>
          <p:cNvPr id="3" name="Footer Placeholder 2"/>
          <p:cNvSpPr>
            <a:spLocks noGrp="1"/>
          </p:cNvSpPr>
          <p:nvPr>
            <p:ph type="ftr" sz="quarter" idx="3"/>
          </p:nvPr>
        </p:nvSpPr>
        <p:spPr>
          <a:xfrm>
            <a:off x="914400" y="6172200"/>
            <a:ext cx="3962400" cy="457200"/>
          </a:xfrm>
          <a:prstGeom prst="rect">
            <a:avLst/>
          </a:prstGeom>
        </p:spPr>
        <p:txBody>
          <a:bodyPr anchor="ctr" anchorCtr="0"/>
          <a:lstStyle>
            <a:lvl1pPr eaLnBrk="1" latinLnBrk="0" hangingPunct="1">
              <a:defRPr kumimoji="0" sz="1400">
                <a:solidFill>
                  <a:schemeClr val="tx2"/>
                </a:solidFill>
              </a:defRPr>
            </a:lvl1pPr>
          </a:lstStyle>
          <a:p>
            <a:endParaRPr lang="en-US">
              <a:solidFill>
                <a:srgbClr val="696464"/>
              </a:solidFill>
            </a:endParaRPr>
          </a:p>
        </p:txBody>
      </p:sp>
      <p:sp>
        <p:nvSpPr>
          <p:cNvPr id="23" name="Slide Number Placeholder 22"/>
          <p:cNvSpPr>
            <a:spLocks noGrp="1"/>
          </p:cNvSpPr>
          <p:nvPr>
            <p:ph type="sldNum" sz="quarter" idx="4"/>
          </p:nvPr>
        </p:nvSpPr>
        <p:spPr>
          <a:xfrm>
            <a:off x="146304" y="6210300"/>
            <a:ext cx="457200" cy="457200"/>
          </a:xfrm>
          <a:prstGeom prst="ellipse">
            <a:avLst/>
          </a:prstGeom>
          <a:solidFill>
            <a:schemeClr val="accent1"/>
          </a:solidFill>
        </p:spPr>
        <p:txBody>
          <a:bodyPr wrap="none" lIns="0" tIns="0" rIns="0" bIns="0" anchor="ctr" anchorCtr="1">
            <a:noAutofit/>
          </a:bodyPr>
          <a:lstStyle>
            <a:lvl1pPr algn="ctr" eaLnBrk="1" latinLnBrk="0" hangingPunct="1">
              <a:defRPr kumimoji="0" sz="1400">
                <a:solidFill>
                  <a:srgbClr val="FFFFFF"/>
                </a:solidFill>
                <a:latin typeface="+mj-lt"/>
                <a:ea typeface="+mj-ea"/>
                <a:cs typeface="+mj-cs"/>
              </a:defRPr>
            </a:lvl1pPr>
          </a:lstStyle>
          <a:p>
            <a:fld id="{8AD6A1BA-F535-4998-B122-5EEC82DBA69C}" type="slidenum">
              <a:rPr lang="en-US" smtClean="0"/>
              <a:pPr/>
              <a:t>‹#›</a:t>
            </a:fld>
            <a:endParaRPr lang="en-US"/>
          </a:p>
        </p:txBody>
      </p:sp>
    </p:spTree>
    <p:extLst>
      <p:ext uri="{BB962C8B-B14F-4D97-AF65-F5344CB8AC3E}">
        <p14:creationId xmlns:p14="http://schemas.microsoft.com/office/powerpoint/2010/main" val="3866918902"/>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Lst>
  <p:txStyles>
    <p:titleStyle>
      <a:lvl1pPr algn="l" rtl="0" eaLnBrk="1" latinLnBrk="0" hangingPunct="1">
        <a:spcBef>
          <a:spcPct val="0"/>
        </a:spcBef>
        <a:buNone/>
        <a:defRPr kumimoji="0" sz="4000" kern="1200">
          <a:solidFill>
            <a:schemeClr val="tx2"/>
          </a:solidFill>
          <a:latin typeface="+mj-lt"/>
          <a:ea typeface="+mj-ea"/>
          <a:cs typeface="+mj-cs"/>
        </a:defRPr>
      </a:lvl1pPr>
    </p:titleStyle>
    <p:bodyStyle>
      <a:lvl1pPr marL="274320" indent="-274320" algn="l" rtl="0" eaLnBrk="1" latinLnBrk="0" hangingPunct="1">
        <a:spcBef>
          <a:spcPts val="580"/>
        </a:spcBef>
        <a:buClr>
          <a:schemeClr val="accent1"/>
        </a:buClr>
        <a:buSzPct val="85000"/>
        <a:buFont typeface="Wingdings 2"/>
        <a:buChar char=""/>
        <a:defRPr kumimoji="0" sz="2600" kern="1200">
          <a:solidFill>
            <a:schemeClr val="tx1"/>
          </a:solidFill>
          <a:latin typeface="+mn-lt"/>
          <a:ea typeface="+mn-ea"/>
          <a:cs typeface="+mn-cs"/>
        </a:defRPr>
      </a:lvl1pPr>
      <a:lvl2pPr marL="548640" indent="-228600" algn="l" rtl="0" eaLnBrk="1" latinLnBrk="0" hangingPunct="1">
        <a:spcBef>
          <a:spcPts val="370"/>
        </a:spcBef>
        <a:buClr>
          <a:schemeClr val="accent2"/>
        </a:buClr>
        <a:buSzPct val="85000"/>
        <a:buFont typeface="Wingdings 2"/>
        <a:buChar char=""/>
        <a:defRPr kumimoji="0" sz="2400" kern="1200">
          <a:solidFill>
            <a:schemeClr val="tx1"/>
          </a:solidFill>
          <a:latin typeface="+mn-lt"/>
          <a:ea typeface="+mn-ea"/>
          <a:cs typeface="+mn-cs"/>
        </a:defRPr>
      </a:lvl2pPr>
      <a:lvl3pPr marL="822960" indent="-228600" algn="l" rtl="0" eaLnBrk="1" latinLnBrk="0" hangingPunct="1">
        <a:spcBef>
          <a:spcPts val="370"/>
        </a:spcBef>
        <a:buClr>
          <a:schemeClr val="accent1">
            <a:tint val="60000"/>
          </a:schemeClr>
        </a:buClr>
        <a:buSzPct val="85000"/>
        <a:buFont typeface="Wingdings 2"/>
        <a:buChar char=""/>
        <a:defRPr kumimoji="0" sz="2000" kern="1200">
          <a:solidFill>
            <a:schemeClr val="tx1"/>
          </a:solidFill>
          <a:latin typeface="+mn-lt"/>
          <a:ea typeface="+mn-ea"/>
          <a:cs typeface="+mn-cs"/>
        </a:defRPr>
      </a:lvl3pPr>
      <a:lvl4pPr marL="1097280" indent="-228600" algn="l" rtl="0" eaLnBrk="1" latinLnBrk="0" hangingPunct="1">
        <a:spcBef>
          <a:spcPts val="370"/>
        </a:spcBef>
        <a:buClr>
          <a:schemeClr val="accent3"/>
        </a:buClr>
        <a:buSzPct val="80000"/>
        <a:buFont typeface="Wingdings 2"/>
        <a:buChar char=""/>
        <a:defRPr kumimoji="0" sz="2000" kern="1200">
          <a:solidFill>
            <a:schemeClr val="tx1"/>
          </a:solidFill>
          <a:latin typeface="+mn-lt"/>
          <a:ea typeface="+mn-ea"/>
          <a:cs typeface="+mn-cs"/>
        </a:defRPr>
      </a:lvl4pPr>
      <a:lvl5pPr marL="1371600" indent="-228600" algn="l" rtl="0" eaLnBrk="1" latinLnBrk="0" hangingPunct="1">
        <a:spcBef>
          <a:spcPts val="370"/>
        </a:spcBef>
        <a:buClr>
          <a:schemeClr val="accent3"/>
        </a:buClr>
        <a:buFontTx/>
        <a:buChar char="o"/>
        <a:defRPr kumimoji="0" sz="2000" kern="1200">
          <a:solidFill>
            <a:schemeClr val="tx1"/>
          </a:solidFill>
          <a:latin typeface="+mn-lt"/>
          <a:ea typeface="+mn-ea"/>
          <a:cs typeface="+mn-cs"/>
        </a:defRPr>
      </a:lvl5pPr>
      <a:lvl6pPr marL="1645920" indent="-228600" algn="l" rtl="0" eaLnBrk="1" latinLnBrk="0" hangingPunct="1">
        <a:spcBef>
          <a:spcPts val="370"/>
        </a:spcBef>
        <a:buClr>
          <a:schemeClr val="accent3"/>
        </a:buClr>
        <a:buChar char="•"/>
        <a:defRPr kumimoji="0" sz="1800" kern="1200" baseline="0">
          <a:solidFill>
            <a:schemeClr val="tx1"/>
          </a:solidFill>
          <a:latin typeface="+mn-lt"/>
          <a:ea typeface="+mn-ea"/>
          <a:cs typeface="+mn-cs"/>
        </a:defRPr>
      </a:lvl6pPr>
      <a:lvl7pPr marL="1920240" indent="-228600" algn="l" rtl="0" eaLnBrk="1" latinLnBrk="0" hangingPunct="1">
        <a:spcBef>
          <a:spcPts val="370"/>
        </a:spcBef>
        <a:buClr>
          <a:schemeClr val="accent2"/>
        </a:buClr>
        <a:buChar char="•"/>
        <a:defRPr kumimoji="0" sz="1800" kern="1200">
          <a:solidFill>
            <a:schemeClr val="tx1"/>
          </a:solidFill>
          <a:latin typeface="+mn-lt"/>
          <a:ea typeface="+mn-ea"/>
          <a:cs typeface="+mn-cs"/>
        </a:defRPr>
      </a:lvl7pPr>
      <a:lvl8pPr marL="2194560" indent="-228600" algn="l" rtl="0" eaLnBrk="1" latinLnBrk="0" hangingPunct="1">
        <a:spcBef>
          <a:spcPts val="370"/>
        </a:spcBef>
        <a:buClr>
          <a:schemeClr val="accent1">
            <a:tint val="60000"/>
          </a:schemeClr>
        </a:buClr>
        <a:buChar char="•"/>
        <a:defRPr kumimoji="0" sz="1800" kern="1200">
          <a:solidFill>
            <a:schemeClr val="tx1"/>
          </a:solidFill>
          <a:latin typeface="+mn-lt"/>
          <a:ea typeface="+mn-ea"/>
          <a:cs typeface="+mn-cs"/>
        </a:defRPr>
      </a:lvl8pPr>
      <a:lvl9pPr marL="2468880" indent="-228600" algn="l" rtl="0" eaLnBrk="1" latinLnBrk="0" hangingPunct="1">
        <a:spcBef>
          <a:spcPts val="370"/>
        </a:spcBef>
        <a:buClr>
          <a:schemeClr val="accent2">
            <a:tint val="60000"/>
          </a:schemeClr>
        </a:buClr>
        <a:buChar char="•"/>
        <a:defRPr kumimoji="0" sz="1800" kern="120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a:extLst>
              <a:ext uri="{FF2B5EF4-FFF2-40B4-BE49-F238E27FC236}">
                <a16:creationId xmlns:a16="http://schemas.microsoft.com/office/drawing/2014/main" id="{AC75FBC4-5E4B-41F7-9B66-E7344F083366}"/>
              </a:ext>
            </a:extLst>
          </p:cNvPr>
          <p:cNvSpPr>
            <a:spLocks noGrp="1" noChangeArrowheads="1"/>
          </p:cNvSpPr>
          <p:nvPr>
            <p:ph type="dt" sz="half" idx="2"/>
          </p:nvPr>
        </p:nvSpPr>
        <p:spPr bwMode="auto">
          <a:xfrm>
            <a:off x="457200" y="6251575"/>
            <a:ext cx="2133600" cy="47625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eaLnBrk="1" hangingPunct="1">
              <a:defRPr sz="1200">
                <a:latin typeface="Arial" charset="0"/>
                <a:cs typeface="+mn-cs"/>
              </a:defRPr>
            </a:lvl1pPr>
          </a:lstStyle>
          <a:p>
            <a:pPr>
              <a:defRPr/>
            </a:pPr>
            <a:endParaRPr lang="en-US"/>
          </a:p>
        </p:txBody>
      </p:sp>
      <p:sp>
        <p:nvSpPr>
          <p:cNvPr id="4099" name="Rectangle 3">
            <a:extLst>
              <a:ext uri="{FF2B5EF4-FFF2-40B4-BE49-F238E27FC236}">
                <a16:creationId xmlns:a16="http://schemas.microsoft.com/office/drawing/2014/main" id="{CB7A1393-9B41-4B50-A49E-8963F9EA179E}"/>
              </a:ext>
            </a:extLst>
          </p:cNvPr>
          <p:cNvSpPr>
            <a:spLocks noGrp="1" noChangeArrowheads="1"/>
          </p:cNvSpPr>
          <p:nvPr>
            <p:ph type="sldNum" sz="quarter" idx="4"/>
          </p:nvPr>
        </p:nvSpPr>
        <p:spPr bwMode="auto">
          <a:xfrm>
            <a:off x="6553200" y="6248400"/>
            <a:ext cx="2133600" cy="47625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latin typeface="Arial" panose="020B0604020202020204" pitchFamily="34" charset="0"/>
              </a:defRPr>
            </a:lvl1pPr>
          </a:lstStyle>
          <a:p>
            <a:fld id="{D84A2A23-1833-414C-9E3E-B9AAEA5C5685}" type="slidenum">
              <a:rPr lang="en-US" altLang="en-US"/>
              <a:pPr/>
              <a:t>‹#›</a:t>
            </a:fld>
            <a:endParaRPr lang="en-US" altLang="en-US"/>
          </a:p>
        </p:txBody>
      </p:sp>
      <p:grpSp>
        <p:nvGrpSpPr>
          <p:cNvPr id="1028" name="Group 4">
            <a:extLst>
              <a:ext uri="{FF2B5EF4-FFF2-40B4-BE49-F238E27FC236}">
                <a16:creationId xmlns:a16="http://schemas.microsoft.com/office/drawing/2014/main" id="{CB1F0F2C-9A92-4F2D-94B9-05F0BCAF60F2}"/>
              </a:ext>
            </a:extLst>
          </p:cNvPr>
          <p:cNvGrpSpPr>
            <a:grpSpLocks/>
          </p:cNvGrpSpPr>
          <p:nvPr/>
        </p:nvGrpSpPr>
        <p:grpSpPr bwMode="auto">
          <a:xfrm>
            <a:off x="1" y="2"/>
            <a:ext cx="9140825" cy="6850063"/>
            <a:chOff x="0" y="0"/>
            <a:chExt cx="5758" cy="4315"/>
          </a:xfrm>
        </p:grpSpPr>
        <p:grpSp>
          <p:nvGrpSpPr>
            <p:cNvPr id="1035" name="Group 5">
              <a:extLst>
                <a:ext uri="{FF2B5EF4-FFF2-40B4-BE49-F238E27FC236}">
                  <a16:creationId xmlns:a16="http://schemas.microsoft.com/office/drawing/2014/main" id="{108798B6-9A04-4D14-B016-9507C2BF2029}"/>
                </a:ext>
              </a:extLst>
            </p:cNvPr>
            <p:cNvGrpSpPr>
              <a:grpSpLocks/>
            </p:cNvGrpSpPr>
            <p:nvPr userDrawn="1"/>
          </p:nvGrpSpPr>
          <p:grpSpPr bwMode="auto">
            <a:xfrm>
              <a:off x="1728" y="2230"/>
              <a:ext cx="4027" cy="2085"/>
              <a:chOff x="1728" y="2230"/>
              <a:chExt cx="4027" cy="2085"/>
            </a:xfrm>
          </p:grpSpPr>
          <p:sp>
            <p:nvSpPr>
              <p:cNvPr id="4102" name="Freeform 6">
                <a:extLst>
                  <a:ext uri="{FF2B5EF4-FFF2-40B4-BE49-F238E27FC236}">
                    <a16:creationId xmlns:a16="http://schemas.microsoft.com/office/drawing/2014/main" id="{2EE01DD6-966B-4A92-AD30-89DCDD578D62}"/>
                  </a:ext>
                </a:extLst>
              </p:cNvPr>
              <p:cNvSpPr>
                <a:spLocks/>
              </p:cNvSpPr>
              <p:nvPr/>
            </p:nvSpPr>
            <p:spPr bwMode="hidden">
              <a:xfrm>
                <a:off x="1728" y="2644"/>
                <a:ext cx="2882" cy="1671"/>
              </a:xfrm>
              <a:custGeom>
                <a:avLst/>
                <a:gdLst/>
                <a:ahLst/>
                <a:cxnLst>
                  <a:cxn ang="0">
                    <a:pos x="2740" y="528"/>
                  </a:cxn>
                  <a:cxn ang="0">
                    <a:pos x="2632" y="484"/>
                  </a:cxn>
                  <a:cxn ang="0">
                    <a:pos x="2480" y="424"/>
                  </a:cxn>
                  <a:cxn ang="0">
                    <a:pos x="2203" y="343"/>
                  </a:cxn>
                  <a:cxn ang="0">
                    <a:pos x="1970" y="277"/>
                  </a:cxn>
                  <a:cxn ang="0">
                    <a:pos x="1807" y="212"/>
                  </a:cxn>
                  <a:cxn ang="0">
                    <a:pos x="1693" y="152"/>
                  </a:cxn>
                  <a:cxn ang="0">
                    <a:pos x="1628" y="103"/>
                  </a:cxn>
                  <a:cxn ang="0">
                    <a:pos x="1590" y="60"/>
                  </a:cxn>
                  <a:cxn ang="0">
                    <a:pos x="1579" y="27"/>
                  </a:cxn>
                  <a:cxn ang="0">
                    <a:pos x="1585" y="0"/>
                  </a:cxn>
                  <a:cxn ang="0">
                    <a:pos x="1557" y="49"/>
                  </a:cxn>
                  <a:cxn ang="0">
                    <a:pos x="1568" y="98"/>
                  </a:cxn>
                  <a:cxn ang="0">
                    <a:pos x="1617" y="141"/>
                  </a:cxn>
                  <a:cxn ang="0">
                    <a:pos x="1688" y="185"/>
                  </a:cxn>
                  <a:cxn ang="0">
                    <a:pos x="1791" y="228"/>
                  </a:cxn>
                  <a:cxn ang="0">
                    <a:pos x="2040" y="310"/>
                  </a:cxn>
                  <a:cxn ang="0">
                    <a:pos x="2285" y="381"/>
                  </a:cxn>
                  <a:cxn ang="0">
                    <a:pos x="2464" y="435"/>
                  </a:cxn>
                  <a:cxn ang="0">
                    <a:pos x="2605" y="484"/>
                  </a:cxn>
                  <a:cxn ang="0">
                    <a:pos x="2708" y="528"/>
                  </a:cxn>
                  <a:cxn ang="0">
                    <a:pos x="2768" y="560"/>
                  </a:cxn>
                  <a:cxn ang="0">
                    <a:pos x="2795" y="593"/>
                  </a:cxn>
                  <a:cxn ang="0">
                    <a:pos x="2795" y="642"/>
                  </a:cxn>
                  <a:cxn ang="0">
                    <a:pos x="2762" y="691"/>
                  </a:cxn>
                  <a:cxn ang="0">
                    <a:pos x="2692" y="735"/>
                  </a:cxn>
                  <a:cxn ang="0">
                    <a:pos x="2589" y="778"/>
                  </a:cxn>
                  <a:cxn ang="0">
                    <a:pos x="2458" y="822"/>
                  </a:cxn>
                  <a:cxn ang="0">
                    <a:pos x="2301" y="865"/>
                  </a:cxn>
                  <a:cxn ang="0">
                    <a:pos x="2030" y="930"/>
                  </a:cxn>
                  <a:cxn ang="0">
                    <a:pos x="1606" y="1034"/>
                  </a:cxn>
                  <a:cxn ang="0">
                    <a:pos x="1145" y="1164"/>
                  </a:cxn>
                  <a:cxn ang="0">
                    <a:pos x="673" y="1328"/>
                  </a:cxn>
                  <a:cxn ang="0">
                    <a:pos x="217" y="1545"/>
                  </a:cxn>
                  <a:cxn ang="0">
                    <a:pos x="353" y="1671"/>
                  </a:cxn>
                  <a:cxn ang="0">
                    <a:pos x="754" y="1469"/>
                  </a:cxn>
                  <a:cxn ang="0">
                    <a:pos x="1145" y="1311"/>
                  </a:cxn>
                  <a:cxn ang="0">
                    <a:pos x="1519" y="1186"/>
                  </a:cxn>
                  <a:cxn ang="0">
                    <a:pos x="1861" y="1083"/>
                  </a:cxn>
                  <a:cxn ang="0">
                    <a:pos x="2165" y="1007"/>
                  </a:cxn>
                  <a:cxn ang="0">
                    <a:pos x="2426" y="947"/>
                  </a:cxn>
                  <a:cxn ang="0">
                    <a:pos x="2626" y="892"/>
                  </a:cxn>
                  <a:cxn ang="0">
                    <a:pos x="2762" y="838"/>
                  </a:cxn>
                  <a:cxn ang="0">
                    <a:pos x="2827" y="794"/>
                  </a:cxn>
                  <a:cxn ang="0">
                    <a:pos x="2865" y="745"/>
                  </a:cxn>
                  <a:cxn ang="0">
                    <a:pos x="2882" y="702"/>
                  </a:cxn>
                  <a:cxn ang="0">
                    <a:pos x="2854" y="620"/>
                  </a:cxn>
                  <a:cxn ang="0">
                    <a:pos x="2800" y="560"/>
                  </a:cxn>
                  <a:cxn ang="0">
                    <a:pos x="2773" y="544"/>
                  </a:cxn>
                </a:cxnLst>
                <a:rect l="0" t="0" r="r" b="b"/>
                <a:pathLst>
                  <a:path w="2882" h="1671">
                    <a:moveTo>
                      <a:pt x="2773" y="544"/>
                    </a:moveTo>
                    <a:lnTo>
                      <a:pt x="2740" y="528"/>
                    </a:lnTo>
                    <a:lnTo>
                      <a:pt x="2692" y="506"/>
                    </a:lnTo>
                    <a:lnTo>
                      <a:pt x="2632" y="484"/>
                    </a:lnTo>
                    <a:lnTo>
                      <a:pt x="2561" y="457"/>
                    </a:lnTo>
                    <a:lnTo>
                      <a:pt x="2480" y="424"/>
                    </a:lnTo>
                    <a:lnTo>
                      <a:pt x="2388" y="397"/>
                    </a:lnTo>
                    <a:lnTo>
                      <a:pt x="2203" y="343"/>
                    </a:lnTo>
                    <a:lnTo>
                      <a:pt x="2078" y="310"/>
                    </a:lnTo>
                    <a:lnTo>
                      <a:pt x="1970" y="277"/>
                    </a:lnTo>
                    <a:lnTo>
                      <a:pt x="1878" y="245"/>
                    </a:lnTo>
                    <a:lnTo>
                      <a:pt x="1807" y="212"/>
                    </a:lnTo>
                    <a:lnTo>
                      <a:pt x="1742" y="179"/>
                    </a:lnTo>
                    <a:lnTo>
                      <a:pt x="1693" y="152"/>
                    </a:lnTo>
                    <a:lnTo>
                      <a:pt x="1655" y="125"/>
                    </a:lnTo>
                    <a:lnTo>
                      <a:pt x="1628" y="103"/>
                    </a:lnTo>
                    <a:lnTo>
                      <a:pt x="1606" y="81"/>
                    </a:lnTo>
                    <a:lnTo>
                      <a:pt x="1590" y="60"/>
                    </a:lnTo>
                    <a:lnTo>
                      <a:pt x="1585" y="43"/>
                    </a:lnTo>
                    <a:lnTo>
                      <a:pt x="1579" y="27"/>
                    </a:lnTo>
                    <a:lnTo>
                      <a:pt x="1585" y="5"/>
                    </a:lnTo>
                    <a:lnTo>
                      <a:pt x="1585" y="0"/>
                    </a:lnTo>
                    <a:lnTo>
                      <a:pt x="1568" y="27"/>
                    </a:lnTo>
                    <a:lnTo>
                      <a:pt x="1557" y="49"/>
                    </a:lnTo>
                    <a:lnTo>
                      <a:pt x="1557" y="76"/>
                    </a:lnTo>
                    <a:lnTo>
                      <a:pt x="1568" y="98"/>
                    </a:lnTo>
                    <a:lnTo>
                      <a:pt x="1590" y="120"/>
                    </a:lnTo>
                    <a:lnTo>
                      <a:pt x="1617" y="141"/>
                    </a:lnTo>
                    <a:lnTo>
                      <a:pt x="1650" y="163"/>
                    </a:lnTo>
                    <a:lnTo>
                      <a:pt x="1688" y="185"/>
                    </a:lnTo>
                    <a:lnTo>
                      <a:pt x="1737" y="207"/>
                    </a:lnTo>
                    <a:lnTo>
                      <a:pt x="1791" y="228"/>
                    </a:lnTo>
                    <a:lnTo>
                      <a:pt x="1905" y="267"/>
                    </a:lnTo>
                    <a:lnTo>
                      <a:pt x="2040" y="310"/>
                    </a:lnTo>
                    <a:lnTo>
                      <a:pt x="2182" y="348"/>
                    </a:lnTo>
                    <a:lnTo>
                      <a:pt x="2285" y="381"/>
                    </a:lnTo>
                    <a:lnTo>
                      <a:pt x="2382" y="408"/>
                    </a:lnTo>
                    <a:lnTo>
                      <a:pt x="2464" y="435"/>
                    </a:lnTo>
                    <a:lnTo>
                      <a:pt x="2540" y="462"/>
                    </a:lnTo>
                    <a:lnTo>
                      <a:pt x="2605" y="484"/>
                    </a:lnTo>
                    <a:lnTo>
                      <a:pt x="2659" y="506"/>
                    </a:lnTo>
                    <a:lnTo>
                      <a:pt x="2708" y="528"/>
                    </a:lnTo>
                    <a:lnTo>
                      <a:pt x="2740" y="544"/>
                    </a:lnTo>
                    <a:lnTo>
                      <a:pt x="2768" y="560"/>
                    </a:lnTo>
                    <a:lnTo>
                      <a:pt x="2784" y="577"/>
                    </a:lnTo>
                    <a:lnTo>
                      <a:pt x="2795" y="593"/>
                    </a:lnTo>
                    <a:lnTo>
                      <a:pt x="2800" y="615"/>
                    </a:lnTo>
                    <a:lnTo>
                      <a:pt x="2795" y="642"/>
                    </a:lnTo>
                    <a:lnTo>
                      <a:pt x="2784" y="664"/>
                    </a:lnTo>
                    <a:lnTo>
                      <a:pt x="2762" y="691"/>
                    </a:lnTo>
                    <a:lnTo>
                      <a:pt x="2730" y="713"/>
                    </a:lnTo>
                    <a:lnTo>
                      <a:pt x="2692" y="735"/>
                    </a:lnTo>
                    <a:lnTo>
                      <a:pt x="2643" y="756"/>
                    </a:lnTo>
                    <a:lnTo>
                      <a:pt x="2589" y="778"/>
                    </a:lnTo>
                    <a:lnTo>
                      <a:pt x="2529" y="800"/>
                    </a:lnTo>
                    <a:lnTo>
                      <a:pt x="2458" y="822"/>
                    </a:lnTo>
                    <a:lnTo>
                      <a:pt x="2382" y="843"/>
                    </a:lnTo>
                    <a:lnTo>
                      <a:pt x="2301" y="865"/>
                    </a:lnTo>
                    <a:lnTo>
                      <a:pt x="2214" y="887"/>
                    </a:lnTo>
                    <a:lnTo>
                      <a:pt x="2030" y="930"/>
                    </a:lnTo>
                    <a:lnTo>
                      <a:pt x="1823" y="979"/>
                    </a:lnTo>
                    <a:lnTo>
                      <a:pt x="1606" y="1034"/>
                    </a:lnTo>
                    <a:lnTo>
                      <a:pt x="1378" y="1094"/>
                    </a:lnTo>
                    <a:lnTo>
                      <a:pt x="1145" y="1164"/>
                    </a:lnTo>
                    <a:lnTo>
                      <a:pt x="912" y="1241"/>
                    </a:lnTo>
                    <a:lnTo>
                      <a:pt x="673" y="1328"/>
                    </a:lnTo>
                    <a:lnTo>
                      <a:pt x="440" y="1431"/>
                    </a:lnTo>
                    <a:lnTo>
                      <a:pt x="217" y="1545"/>
                    </a:lnTo>
                    <a:lnTo>
                      <a:pt x="0" y="1671"/>
                    </a:lnTo>
                    <a:lnTo>
                      <a:pt x="353" y="1671"/>
                    </a:lnTo>
                    <a:lnTo>
                      <a:pt x="554" y="1567"/>
                    </a:lnTo>
                    <a:lnTo>
                      <a:pt x="754" y="1469"/>
                    </a:lnTo>
                    <a:lnTo>
                      <a:pt x="955" y="1388"/>
                    </a:lnTo>
                    <a:lnTo>
                      <a:pt x="1145" y="1311"/>
                    </a:lnTo>
                    <a:lnTo>
                      <a:pt x="1335" y="1241"/>
                    </a:lnTo>
                    <a:lnTo>
                      <a:pt x="1519" y="1186"/>
                    </a:lnTo>
                    <a:lnTo>
                      <a:pt x="1693" y="1132"/>
                    </a:lnTo>
                    <a:lnTo>
                      <a:pt x="1861" y="1083"/>
                    </a:lnTo>
                    <a:lnTo>
                      <a:pt x="2019" y="1045"/>
                    </a:lnTo>
                    <a:lnTo>
                      <a:pt x="2165" y="1007"/>
                    </a:lnTo>
                    <a:lnTo>
                      <a:pt x="2301" y="974"/>
                    </a:lnTo>
                    <a:lnTo>
                      <a:pt x="2426" y="947"/>
                    </a:lnTo>
                    <a:lnTo>
                      <a:pt x="2534" y="914"/>
                    </a:lnTo>
                    <a:lnTo>
                      <a:pt x="2626" y="892"/>
                    </a:lnTo>
                    <a:lnTo>
                      <a:pt x="2702" y="865"/>
                    </a:lnTo>
                    <a:lnTo>
                      <a:pt x="2762" y="838"/>
                    </a:lnTo>
                    <a:lnTo>
                      <a:pt x="2800" y="816"/>
                    </a:lnTo>
                    <a:lnTo>
                      <a:pt x="2827" y="794"/>
                    </a:lnTo>
                    <a:lnTo>
                      <a:pt x="2849" y="767"/>
                    </a:lnTo>
                    <a:lnTo>
                      <a:pt x="2865" y="745"/>
                    </a:lnTo>
                    <a:lnTo>
                      <a:pt x="2876" y="724"/>
                    </a:lnTo>
                    <a:lnTo>
                      <a:pt x="2882" y="702"/>
                    </a:lnTo>
                    <a:lnTo>
                      <a:pt x="2876" y="658"/>
                    </a:lnTo>
                    <a:lnTo>
                      <a:pt x="2854" y="620"/>
                    </a:lnTo>
                    <a:lnTo>
                      <a:pt x="2833" y="588"/>
                    </a:lnTo>
                    <a:lnTo>
                      <a:pt x="2800" y="560"/>
                    </a:lnTo>
                    <a:lnTo>
                      <a:pt x="2773" y="544"/>
                    </a:lnTo>
                    <a:lnTo>
                      <a:pt x="2773" y="544"/>
                    </a:lnTo>
                    <a:close/>
                  </a:path>
                </a:pathLst>
              </a:custGeom>
              <a:gradFill rotWithShape="0">
                <a:gsLst>
                  <a:gs pos="0">
                    <a:schemeClr val="bg1"/>
                  </a:gs>
                  <a:gs pos="100000">
                    <a:schemeClr val="bg1">
                      <a:gamma/>
                      <a:shade val="90980"/>
                      <a:invGamma/>
                    </a:schemeClr>
                  </a:gs>
                </a:gsLst>
                <a:lin ang="0" scaled="1"/>
              </a:gradFill>
              <a:ln w="9525">
                <a:noFill/>
                <a:round/>
                <a:headEnd/>
                <a:tailEnd/>
              </a:ln>
            </p:spPr>
            <p:txBody>
              <a:bodyPr/>
              <a:lstStyle/>
              <a:p>
                <a:pPr eaLnBrk="0" hangingPunct="0">
                  <a:defRPr/>
                </a:pPr>
                <a:endParaRPr lang="en-US" sz="1800">
                  <a:cs typeface="+mn-cs"/>
                </a:endParaRPr>
              </a:p>
            </p:txBody>
          </p:sp>
          <p:sp>
            <p:nvSpPr>
              <p:cNvPr id="4103" name="Freeform 7">
                <a:extLst>
                  <a:ext uri="{FF2B5EF4-FFF2-40B4-BE49-F238E27FC236}">
                    <a16:creationId xmlns:a16="http://schemas.microsoft.com/office/drawing/2014/main" id="{F73B03D4-5204-4888-91F3-B946F854B275}"/>
                  </a:ext>
                </a:extLst>
              </p:cNvPr>
              <p:cNvSpPr>
                <a:spLocks/>
              </p:cNvSpPr>
              <p:nvPr/>
            </p:nvSpPr>
            <p:spPr bwMode="hidden">
              <a:xfrm>
                <a:off x="4170" y="2671"/>
                <a:ext cx="1259" cy="811"/>
              </a:xfrm>
              <a:custGeom>
                <a:avLst/>
                <a:gdLst/>
                <a:ahLst/>
                <a:cxnLst>
                  <a:cxn ang="0">
                    <a:pos x="1259" y="615"/>
                  </a:cxn>
                  <a:cxn ang="0">
                    <a:pos x="1248" y="588"/>
                  </a:cxn>
                  <a:cxn ang="0">
                    <a:pos x="1237" y="566"/>
                  </a:cxn>
                  <a:cxn ang="0">
                    <a:pos x="1216" y="539"/>
                  </a:cxn>
                  <a:cxn ang="0">
                    <a:pos x="1188" y="517"/>
                  </a:cxn>
                  <a:cxn ang="0">
                    <a:pos x="1123" y="479"/>
                  </a:cxn>
                  <a:cxn ang="0">
                    <a:pos x="1042" y="441"/>
                  </a:cxn>
                  <a:cxn ang="0">
                    <a:pos x="944" y="408"/>
                  </a:cxn>
                  <a:cxn ang="0">
                    <a:pos x="841" y="381"/>
                  </a:cxn>
                  <a:cxn ang="0">
                    <a:pos x="727" y="348"/>
                  </a:cxn>
                  <a:cxn ang="0">
                    <a:pos x="613" y="321"/>
                  </a:cxn>
                  <a:cxn ang="0">
                    <a:pos x="499" y="294"/>
                  </a:cxn>
                  <a:cxn ang="0">
                    <a:pos x="391" y="261"/>
                  </a:cxn>
                  <a:cxn ang="0">
                    <a:pos x="288" y="229"/>
                  </a:cxn>
                  <a:cxn ang="0">
                    <a:pos x="195" y="196"/>
                  </a:cxn>
                  <a:cxn ang="0">
                    <a:pos x="119" y="152"/>
                  </a:cxn>
                  <a:cxn ang="0">
                    <a:pos x="54" y="109"/>
                  </a:cxn>
                  <a:cxn ang="0">
                    <a:pos x="33" y="87"/>
                  </a:cxn>
                  <a:cxn ang="0">
                    <a:pos x="16" y="60"/>
                  </a:cxn>
                  <a:cxn ang="0">
                    <a:pos x="5" y="33"/>
                  </a:cxn>
                  <a:cxn ang="0">
                    <a:pos x="0" y="0"/>
                  </a:cxn>
                  <a:cxn ang="0">
                    <a:pos x="0" y="6"/>
                  </a:cxn>
                  <a:cxn ang="0">
                    <a:pos x="0" y="11"/>
                  </a:cxn>
                  <a:cxn ang="0">
                    <a:pos x="0" y="38"/>
                  </a:cxn>
                  <a:cxn ang="0">
                    <a:pos x="5" y="60"/>
                  </a:cxn>
                  <a:cxn ang="0">
                    <a:pos x="16" y="87"/>
                  </a:cxn>
                  <a:cxn ang="0">
                    <a:pos x="33" y="114"/>
                  </a:cxn>
                  <a:cxn ang="0">
                    <a:pos x="54" y="142"/>
                  </a:cxn>
                  <a:cxn ang="0">
                    <a:pos x="87" y="174"/>
                  </a:cxn>
                  <a:cxn ang="0">
                    <a:pos x="125" y="207"/>
                  </a:cxn>
                  <a:cxn ang="0">
                    <a:pos x="179" y="240"/>
                  </a:cxn>
                  <a:cxn ang="0">
                    <a:pos x="244" y="278"/>
                  </a:cxn>
                  <a:cxn ang="0">
                    <a:pos x="326" y="310"/>
                  </a:cxn>
                  <a:cxn ang="0">
                    <a:pos x="418" y="348"/>
                  </a:cxn>
                  <a:cxn ang="0">
                    <a:pos x="526" y="381"/>
                  </a:cxn>
                  <a:cxn ang="0">
                    <a:pos x="657" y="414"/>
                  </a:cxn>
                  <a:cxn ang="0">
                    <a:pos x="749" y="435"/>
                  </a:cxn>
                  <a:cxn ang="0">
                    <a:pos x="830" y="463"/>
                  </a:cxn>
                  <a:cxn ang="0">
                    <a:pos x="901" y="490"/>
                  </a:cxn>
                  <a:cxn ang="0">
                    <a:pos x="966" y="512"/>
                  </a:cxn>
                  <a:cxn ang="0">
                    <a:pos x="1015" y="539"/>
                  </a:cxn>
                  <a:cxn ang="0">
                    <a:pos x="1053" y="566"/>
                  </a:cxn>
                  <a:cxn ang="0">
                    <a:pos x="1080" y="593"/>
                  </a:cxn>
                  <a:cxn ang="0">
                    <a:pos x="1102" y="620"/>
                  </a:cxn>
                  <a:cxn ang="0">
                    <a:pos x="1112" y="648"/>
                  </a:cxn>
                  <a:cxn ang="0">
                    <a:pos x="1118" y="675"/>
                  </a:cxn>
                  <a:cxn ang="0">
                    <a:pos x="1112" y="697"/>
                  </a:cxn>
                  <a:cxn ang="0">
                    <a:pos x="1096" y="724"/>
                  </a:cxn>
                  <a:cxn ang="0">
                    <a:pos x="1080" y="746"/>
                  </a:cxn>
                  <a:cxn ang="0">
                    <a:pos x="1053" y="767"/>
                  </a:cxn>
                  <a:cxn ang="0">
                    <a:pos x="1015" y="789"/>
                  </a:cxn>
                  <a:cxn ang="0">
                    <a:pos x="977" y="811"/>
                  </a:cxn>
                  <a:cxn ang="0">
                    <a:pos x="1047" y="789"/>
                  </a:cxn>
                  <a:cxn ang="0">
                    <a:pos x="1107" y="767"/>
                  </a:cxn>
                  <a:cxn ang="0">
                    <a:pos x="1156" y="746"/>
                  </a:cxn>
                  <a:cxn ang="0">
                    <a:pos x="1199" y="724"/>
                  </a:cxn>
                  <a:cxn ang="0">
                    <a:pos x="1226" y="702"/>
                  </a:cxn>
                  <a:cxn ang="0">
                    <a:pos x="1248" y="675"/>
                  </a:cxn>
                  <a:cxn ang="0">
                    <a:pos x="1259" y="648"/>
                  </a:cxn>
                  <a:cxn ang="0">
                    <a:pos x="1259" y="615"/>
                  </a:cxn>
                  <a:cxn ang="0">
                    <a:pos x="1259" y="615"/>
                  </a:cxn>
                </a:cxnLst>
                <a:rect l="0" t="0" r="r" b="b"/>
                <a:pathLst>
                  <a:path w="1259" h="811">
                    <a:moveTo>
                      <a:pt x="1259" y="615"/>
                    </a:moveTo>
                    <a:lnTo>
                      <a:pt x="1248" y="588"/>
                    </a:lnTo>
                    <a:lnTo>
                      <a:pt x="1237" y="566"/>
                    </a:lnTo>
                    <a:lnTo>
                      <a:pt x="1216" y="539"/>
                    </a:lnTo>
                    <a:lnTo>
                      <a:pt x="1188" y="517"/>
                    </a:lnTo>
                    <a:lnTo>
                      <a:pt x="1123" y="479"/>
                    </a:lnTo>
                    <a:lnTo>
                      <a:pt x="1042" y="441"/>
                    </a:lnTo>
                    <a:lnTo>
                      <a:pt x="944" y="408"/>
                    </a:lnTo>
                    <a:lnTo>
                      <a:pt x="841" y="381"/>
                    </a:lnTo>
                    <a:lnTo>
                      <a:pt x="727" y="348"/>
                    </a:lnTo>
                    <a:lnTo>
                      <a:pt x="613" y="321"/>
                    </a:lnTo>
                    <a:lnTo>
                      <a:pt x="499" y="294"/>
                    </a:lnTo>
                    <a:lnTo>
                      <a:pt x="391" y="261"/>
                    </a:lnTo>
                    <a:lnTo>
                      <a:pt x="288" y="229"/>
                    </a:lnTo>
                    <a:lnTo>
                      <a:pt x="195" y="196"/>
                    </a:lnTo>
                    <a:lnTo>
                      <a:pt x="119" y="152"/>
                    </a:lnTo>
                    <a:lnTo>
                      <a:pt x="54" y="109"/>
                    </a:lnTo>
                    <a:lnTo>
                      <a:pt x="33" y="87"/>
                    </a:lnTo>
                    <a:lnTo>
                      <a:pt x="16" y="60"/>
                    </a:lnTo>
                    <a:lnTo>
                      <a:pt x="5" y="33"/>
                    </a:lnTo>
                    <a:lnTo>
                      <a:pt x="0" y="0"/>
                    </a:lnTo>
                    <a:lnTo>
                      <a:pt x="0" y="6"/>
                    </a:lnTo>
                    <a:lnTo>
                      <a:pt x="0" y="11"/>
                    </a:lnTo>
                    <a:lnTo>
                      <a:pt x="0" y="38"/>
                    </a:lnTo>
                    <a:lnTo>
                      <a:pt x="5" y="60"/>
                    </a:lnTo>
                    <a:lnTo>
                      <a:pt x="16" y="87"/>
                    </a:lnTo>
                    <a:lnTo>
                      <a:pt x="33" y="114"/>
                    </a:lnTo>
                    <a:lnTo>
                      <a:pt x="54" y="142"/>
                    </a:lnTo>
                    <a:lnTo>
                      <a:pt x="87" y="174"/>
                    </a:lnTo>
                    <a:lnTo>
                      <a:pt x="125" y="207"/>
                    </a:lnTo>
                    <a:lnTo>
                      <a:pt x="179" y="240"/>
                    </a:lnTo>
                    <a:lnTo>
                      <a:pt x="244" y="278"/>
                    </a:lnTo>
                    <a:lnTo>
                      <a:pt x="326" y="310"/>
                    </a:lnTo>
                    <a:lnTo>
                      <a:pt x="418" y="348"/>
                    </a:lnTo>
                    <a:lnTo>
                      <a:pt x="526" y="381"/>
                    </a:lnTo>
                    <a:lnTo>
                      <a:pt x="657" y="414"/>
                    </a:lnTo>
                    <a:lnTo>
                      <a:pt x="749" y="435"/>
                    </a:lnTo>
                    <a:lnTo>
                      <a:pt x="830" y="463"/>
                    </a:lnTo>
                    <a:lnTo>
                      <a:pt x="901" y="490"/>
                    </a:lnTo>
                    <a:lnTo>
                      <a:pt x="966" y="512"/>
                    </a:lnTo>
                    <a:lnTo>
                      <a:pt x="1015" y="539"/>
                    </a:lnTo>
                    <a:lnTo>
                      <a:pt x="1053" y="566"/>
                    </a:lnTo>
                    <a:lnTo>
                      <a:pt x="1080" y="593"/>
                    </a:lnTo>
                    <a:lnTo>
                      <a:pt x="1102" y="620"/>
                    </a:lnTo>
                    <a:lnTo>
                      <a:pt x="1112" y="648"/>
                    </a:lnTo>
                    <a:lnTo>
                      <a:pt x="1118" y="675"/>
                    </a:lnTo>
                    <a:lnTo>
                      <a:pt x="1112" y="697"/>
                    </a:lnTo>
                    <a:lnTo>
                      <a:pt x="1096" y="724"/>
                    </a:lnTo>
                    <a:lnTo>
                      <a:pt x="1080" y="746"/>
                    </a:lnTo>
                    <a:lnTo>
                      <a:pt x="1053" y="767"/>
                    </a:lnTo>
                    <a:lnTo>
                      <a:pt x="1015" y="789"/>
                    </a:lnTo>
                    <a:lnTo>
                      <a:pt x="977" y="811"/>
                    </a:lnTo>
                    <a:lnTo>
                      <a:pt x="1047" y="789"/>
                    </a:lnTo>
                    <a:lnTo>
                      <a:pt x="1107" y="767"/>
                    </a:lnTo>
                    <a:lnTo>
                      <a:pt x="1156" y="746"/>
                    </a:lnTo>
                    <a:lnTo>
                      <a:pt x="1199" y="724"/>
                    </a:lnTo>
                    <a:lnTo>
                      <a:pt x="1226" y="702"/>
                    </a:lnTo>
                    <a:lnTo>
                      <a:pt x="1248" y="675"/>
                    </a:lnTo>
                    <a:lnTo>
                      <a:pt x="1259" y="648"/>
                    </a:lnTo>
                    <a:lnTo>
                      <a:pt x="1259" y="615"/>
                    </a:lnTo>
                    <a:lnTo>
                      <a:pt x="1259" y="615"/>
                    </a:lnTo>
                    <a:close/>
                  </a:path>
                </a:pathLst>
              </a:custGeom>
              <a:gradFill rotWithShape="0">
                <a:gsLst>
                  <a:gs pos="0">
                    <a:schemeClr val="bg1"/>
                  </a:gs>
                  <a:gs pos="100000">
                    <a:schemeClr val="bg1">
                      <a:gamma/>
                      <a:shade val="90980"/>
                      <a:invGamma/>
                    </a:schemeClr>
                  </a:gs>
                </a:gsLst>
                <a:lin ang="2700000" scaled="1"/>
              </a:gradFill>
              <a:ln w="9525">
                <a:noFill/>
                <a:round/>
                <a:headEnd/>
                <a:tailEnd/>
              </a:ln>
            </p:spPr>
            <p:txBody>
              <a:bodyPr/>
              <a:lstStyle/>
              <a:p>
                <a:pPr eaLnBrk="0" hangingPunct="0">
                  <a:defRPr/>
                </a:pPr>
                <a:endParaRPr lang="en-US" sz="1800">
                  <a:cs typeface="+mn-cs"/>
                </a:endParaRPr>
              </a:p>
            </p:txBody>
          </p:sp>
          <p:sp>
            <p:nvSpPr>
              <p:cNvPr id="4104" name="Freeform 8">
                <a:extLst>
                  <a:ext uri="{FF2B5EF4-FFF2-40B4-BE49-F238E27FC236}">
                    <a16:creationId xmlns:a16="http://schemas.microsoft.com/office/drawing/2014/main" id="{3F888BFF-09B6-4BF7-A732-9A4C4BFD3469}"/>
                  </a:ext>
                </a:extLst>
              </p:cNvPr>
              <p:cNvSpPr>
                <a:spLocks/>
              </p:cNvSpPr>
              <p:nvPr/>
            </p:nvSpPr>
            <p:spPr bwMode="hidden">
              <a:xfrm>
                <a:off x="2900" y="3346"/>
                <a:ext cx="2849" cy="969"/>
              </a:xfrm>
              <a:custGeom>
                <a:avLst/>
                <a:gdLst/>
                <a:ahLst/>
                <a:cxnLst>
                  <a:cxn ang="0">
                    <a:pos x="92" y="958"/>
                  </a:cxn>
                  <a:cxn ang="0">
                    <a:pos x="0" y="969"/>
                  </a:cxn>
                  <a:cxn ang="0">
                    <a:pos x="391" y="969"/>
                  </a:cxn>
                  <a:cxn ang="0">
                    <a:pos x="434" y="947"/>
                  </a:cxn>
                  <a:cxn ang="0">
                    <a:pos x="483" y="914"/>
                  </a:cxn>
                  <a:cxn ang="0">
                    <a:pos x="554" y="876"/>
                  </a:cxn>
                  <a:cxn ang="0">
                    <a:pos x="635" y="838"/>
                  </a:cxn>
                  <a:cxn ang="0">
                    <a:pos x="727" y="794"/>
                  </a:cxn>
                  <a:cxn ang="0">
                    <a:pos x="836" y="745"/>
                  </a:cxn>
                  <a:cxn ang="0">
                    <a:pos x="961" y="696"/>
                  </a:cxn>
                  <a:cxn ang="0">
                    <a:pos x="1102" y="642"/>
                  </a:cxn>
                  <a:cxn ang="0">
                    <a:pos x="1259" y="582"/>
                  </a:cxn>
                  <a:cxn ang="0">
                    <a:pos x="1433" y="522"/>
                  </a:cxn>
                  <a:cxn ang="0">
                    <a:pos x="1623" y="462"/>
                  </a:cxn>
                  <a:cxn ang="0">
                    <a:pos x="1829" y="403"/>
                  </a:cxn>
                  <a:cxn ang="0">
                    <a:pos x="2057" y="343"/>
                  </a:cxn>
                  <a:cxn ang="0">
                    <a:pos x="2301" y="283"/>
                  </a:cxn>
                  <a:cxn ang="0">
                    <a:pos x="2567" y="223"/>
                  </a:cxn>
                  <a:cxn ang="0">
                    <a:pos x="2849" y="163"/>
                  </a:cxn>
                  <a:cxn ang="0">
                    <a:pos x="2849" y="0"/>
                  </a:cxn>
                  <a:cxn ang="0">
                    <a:pos x="2817" y="16"/>
                  </a:cxn>
                  <a:cxn ang="0">
                    <a:pos x="2773" y="33"/>
                  </a:cxn>
                  <a:cxn ang="0">
                    <a:pos x="2719" y="54"/>
                  </a:cxn>
                  <a:cxn ang="0">
                    <a:pos x="2648" y="76"/>
                  </a:cxn>
                  <a:cxn ang="0">
                    <a:pos x="2572" y="98"/>
                  </a:cxn>
                  <a:cxn ang="0">
                    <a:pos x="2491" y="120"/>
                  </a:cxn>
                  <a:cxn ang="0">
                    <a:pos x="2399" y="147"/>
                  </a:cxn>
                  <a:cxn ang="0">
                    <a:pos x="2301" y="169"/>
                  </a:cxn>
                  <a:cxn ang="0">
                    <a:pos x="2095" y="223"/>
                  </a:cxn>
                  <a:cxn ang="0">
                    <a:pos x="1889" y="277"/>
                  </a:cxn>
                  <a:cxn ang="0">
                    <a:pos x="1688" y="326"/>
                  </a:cxn>
                  <a:cxn ang="0">
                    <a:pos x="1590" y="354"/>
                  </a:cxn>
                  <a:cxn ang="0">
                    <a:pos x="1503" y="381"/>
                  </a:cxn>
                  <a:cxn ang="0">
                    <a:pos x="1107" y="506"/>
                  </a:cxn>
                  <a:cxn ang="0">
                    <a:pos x="912" y="577"/>
                  </a:cxn>
                  <a:cxn ang="0">
                    <a:pos x="727" y="647"/>
                  </a:cxn>
                  <a:cxn ang="0">
                    <a:pos x="548" y="718"/>
                  </a:cxn>
                  <a:cxn ang="0">
                    <a:pos x="380" y="794"/>
                  </a:cxn>
                  <a:cxn ang="0">
                    <a:pos x="228" y="876"/>
                  </a:cxn>
                  <a:cxn ang="0">
                    <a:pos x="92" y="958"/>
                  </a:cxn>
                  <a:cxn ang="0">
                    <a:pos x="92" y="958"/>
                  </a:cxn>
                </a:cxnLst>
                <a:rect l="0" t="0" r="r" b="b"/>
                <a:pathLst>
                  <a:path w="2849" h="969">
                    <a:moveTo>
                      <a:pt x="92" y="958"/>
                    </a:moveTo>
                    <a:lnTo>
                      <a:pt x="0" y="969"/>
                    </a:lnTo>
                    <a:lnTo>
                      <a:pt x="391" y="969"/>
                    </a:lnTo>
                    <a:lnTo>
                      <a:pt x="434" y="947"/>
                    </a:lnTo>
                    <a:lnTo>
                      <a:pt x="483" y="914"/>
                    </a:lnTo>
                    <a:lnTo>
                      <a:pt x="554" y="876"/>
                    </a:lnTo>
                    <a:lnTo>
                      <a:pt x="635" y="838"/>
                    </a:lnTo>
                    <a:lnTo>
                      <a:pt x="727" y="794"/>
                    </a:lnTo>
                    <a:lnTo>
                      <a:pt x="836" y="745"/>
                    </a:lnTo>
                    <a:lnTo>
                      <a:pt x="961" y="696"/>
                    </a:lnTo>
                    <a:lnTo>
                      <a:pt x="1102" y="642"/>
                    </a:lnTo>
                    <a:lnTo>
                      <a:pt x="1259" y="582"/>
                    </a:lnTo>
                    <a:lnTo>
                      <a:pt x="1433" y="522"/>
                    </a:lnTo>
                    <a:lnTo>
                      <a:pt x="1623" y="462"/>
                    </a:lnTo>
                    <a:lnTo>
                      <a:pt x="1829" y="403"/>
                    </a:lnTo>
                    <a:lnTo>
                      <a:pt x="2057" y="343"/>
                    </a:lnTo>
                    <a:lnTo>
                      <a:pt x="2301" y="283"/>
                    </a:lnTo>
                    <a:lnTo>
                      <a:pt x="2567" y="223"/>
                    </a:lnTo>
                    <a:lnTo>
                      <a:pt x="2849" y="163"/>
                    </a:lnTo>
                    <a:lnTo>
                      <a:pt x="2849" y="0"/>
                    </a:lnTo>
                    <a:lnTo>
                      <a:pt x="2817" y="16"/>
                    </a:lnTo>
                    <a:lnTo>
                      <a:pt x="2773" y="33"/>
                    </a:lnTo>
                    <a:lnTo>
                      <a:pt x="2719" y="54"/>
                    </a:lnTo>
                    <a:lnTo>
                      <a:pt x="2648" y="76"/>
                    </a:lnTo>
                    <a:lnTo>
                      <a:pt x="2572" y="98"/>
                    </a:lnTo>
                    <a:lnTo>
                      <a:pt x="2491" y="120"/>
                    </a:lnTo>
                    <a:lnTo>
                      <a:pt x="2399" y="147"/>
                    </a:lnTo>
                    <a:lnTo>
                      <a:pt x="2301" y="169"/>
                    </a:lnTo>
                    <a:lnTo>
                      <a:pt x="2095" y="223"/>
                    </a:lnTo>
                    <a:lnTo>
                      <a:pt x="1889" y="277"/>
                    </a:lnTo>
                    <a:lnTo>
                      <a:pt x="1688" y="326"/>
                    </a:lnTo>
                    <a:lnTo>
                      <a:pt x="1590" y="354"/>
                    </a:lnTo>
                    <a:lnTo>
                      <a:pt x="1503" y="381"/>
                    </a:lnTo>
                    <a:lnTo>
                      <a:pt x="1107" y="506"/>
                    </a:lnTo>
                    <a:lnTo>
                      <a:pt x="912" y="577"/>
                    </a:lnTo>
                    <a:lnTo>
                      <a:pt x="727" y="647"/>
                    </a:lnTo>
                    <a:lnTo>
                      <a:pt x="548" y="718"/>
                    </a:lnTo>
                    <a:lnTo>
                      <a:pt x="380" y="794"/>
                    </a:lnTo>
                    <a:lnTo>
                      <a:pt x="228" y="876"/>
                    </a:lnTo>
                    <a:lnTo>
                      <a:pt x="92" y="958"/>
                    </a:lnTo>
                    <a:lnTo>
                      <a:pt x="92" y="958"/>
                    </a:lnTo>
                    <a:close/>
                  </a:path>
                </a:pathLst>
              </a:custGeom>
              <a:gradFill rotWithShape="0">
                <a:gsLst>
                  <a:gs pos="0">
                    <a:schemeClr val="bg1">
                      <a:gamma/>
                      <a:shade val="81961"/>
                      <a:invGamma/>
                    </a:schemeClr>
                  </a:gs>
                  <a:gs pos="100000">
                    <a:schemeClr val="bg1"/>
                  </a:gs>
                </a:gsLst>
                <a:lin ang="5400000" scaled="1"/>
              </a:gradFill>
              <a:ln w="9525">
                <a:noFill/>
                <a:round/>
                <a:headEnd/>
                <a:tailEnd/>
              </a:ln>
            </p:spPr>
            <p:txBody>
              <a:bodyPr/>
              <a:lstStyle/>
              <a:p>
                <a:pPr eaLnBrk="0" hangingPunct="0">
                  <a:defRPr/>
                </a:pPr>
                <a:endParaRPr lang="en-US" sz="1800">
                  <a:cs typeface="+mn-cs"/>
                </a:endParaRPr>
              </a:p>
            </p:txBody>
          </p:sp>
          <p:sp>
            <p:nvSpPr>
              <p:cNvPr id="1041" name="Freeform 9">
                <a:extLst>
                  <a:ext uri="{FF2B5EF4-FFF2-40B4-BE49-F238E27FC236}">
                    <a16:creationId xmlns:a16="http://schemas.microsoft.com/office/drawing/2014/main" id="{911A3F9F-316D-4BE3-8BD0-C796E5F3E122}"/>
                  </a:ext>
                </a:extLst>
              </p:cNvPr>
              <p:cNvSpPr>
                <a:spLocks/>
              </p:cNvSpPr>
              <p:nvPr/>
            </p:nvSpPr>
            <p:spPr bwMode="hidden">
              <a:xfrm>
                <a:off x="2748" y="2230"/>
                <a:ext cx="3007" cy="2085"/>
              </a:xfrm>
              <a:custGeom>
                <a:avLst/>
                <a:gdLst>
                  <a:gd name="T0" fmla="*/ 1433 w 3007"/>
                  <a:gd name="T1" fmla="*/ 474 h 2085"/>
                  <a:gd name="T2" fmla="*/ 1460 w 3007"/>
                  <a:gd name="T3" fmla="*/ 528 h 2085"/>
                  <a:gd name="T4" fmla="*/ 1541 w 3007"/>
                  <a:gd name="T5" fmla="*/ 593 h 2085"/>
                  <a:gd name="T6" fmla="*/ 1715 w 3007"/>
                  <a:gd name="T7" fmla="*/ 670 h 2085"/>
                  <a:gd name="T8" fmla="*/ 1927 w 3007"/>
                  <a:gd name="T9" fmla="*/ 735 h 2085"/>
                  <a:gd name="T10" fmla="*/ 2155 w 3007"/>
                  <a:gd name="T11" fmla="*/ 789 h 2085"/>
                  <a:gd name="T12" fmla="*/ 2372 w 3007"/>
                  <a:gd name="T13" fmla="*/ 849 h 2085"/>
                  <a:gd name="T14" fmla="*/ 2551 w 3007"/>
                  <a:gd name="T15" fmla="*/ 920 h 2085"/>
                  <a:gd name="T16" fmla="*/ 2638 w 3007"/>
                  <a:gd name="T17" fmla="*/ 980 h 2085"/>
                  <a:gd name="T18" fmla="*/ 2676 w 3007"/>
                  <a:gd name="T19" fmla="*/ 1029 h 2085"/>
                  <a:gd name="T20" fmla="*/ 2681 w 3007"/>
                  <a:gd name="T21" fmla="*/ 1083 h 2085"/>
                  <a:gd name="T22" fmla="*/ 2665 w 3007"/>
                  <a:gd name="T23" fmla="*/ 1127 h 2085"/>
                  <a:gd name="T24" fmla="*/ 2616 w 3007"/>
                  <a:gd name="T25" fmla="*/ 1170 h 2085"/>
                  <a:gd name="T26" fmla="*/ 2545 w 3007"/>
                  <a:gd name="T27" fmla="*/ 1208 h 2085"/>
                  <a:gd name="T28" fmla="*/ 2448 w 3007"/>
                  <a:gd name="T29" fmla="*/ 1241 h 2085"/>
                  <a:gd name="T30" fmla="*/ 2328 w 3007"/>
                  <a:gd name="T31" fmla="*/ 1274 h 2085"/>
                  <a:gd name="T32" fmla="*/ 2106 w 3007"/>
                  <a:gd name="T33" fmla="*/ 1328 h 2085"/>
                  <a:gd name="T34" fmla="*/ 1742 w 3007"/>
                  <a:gd name="T35" fmla="*/ 1421 h 2085"/>
                  <a:gd name="T36" fmla="*/ 1308 w 3007"/>
                  <a:gd name="T37" fmla="*/ 1540 h 2085"/>
                  <a:gd name="T38" fmla="*/ 820 w 3007"/>
                  <a:gd name="T39" fmla="*/ 1709 h 2085"/>
                  <a:gd name="T40" fmla="*/ 282 w 3007"/>
                  <a:gd name="T41" fmla="*/ 1943 h 2085"/>
                  <a:gd name="T42" fmla="*/ 152 w 3007"/>
                  <a:gd name="T43" fmla="*/ 2085 h 2085"/>
                  <a:gd name="T44" fmla="*/ 386 w 3007"/>
                  <a:gd name="T45" fmla="*/ 1992 h 2085"/>
                  <a:gd name="T46" fmla="*/ 700 w 3007"/>
                  <a:gd name="T47" fmla="*/ 1834 h 2085"/>
                  <a:gd name="T48" fmla="*/ 1064 w 3007"/>
                  <a:gd name="T49" fmla="*/ 1693 h 2085"/>
                  <a:gd name="T50" fmla="*/ 1661 w 3007"/>
                  <a:gd name="T51" fmla="*/ 1497 h 2085"/>
                  <a:gd name="T52" fmla="*/ 1845 w 3007"/>
                  <a:gd name="T53" fmla="*/ 1442 h 2085"/>
                  <a:gd name="T54" fmla="*/ 2252 w 3007"/>
                  <a:gd name="T55" fmla="*/ 1339 h 2085"/>
                  <a:gd name="T56" fmla="*/ 2551 w 3007"/>
                  <a:gd name="T57" fmla="*/ 1263 h 2085"/>
                  <a:gd name="T58" fmla="*/ 2730 w 3007"/>
                  <a:gd name="T59" fmla="*/ 1214 h 2085"/>
                  <a:gd name="T60" fmla="*/ 2876 w 3007"/>
                  <a:gd name="T61" fmla="*/ 1170 h 2085"/>
                  <a:gd name="T62" fmla="*/ 2974 w 3007"/>
                  <a:gd name="T63" fmla="*/ 1132 h 2085"/>
                  <a:gd name="T64" fmla="*/ 3007 w 3007"/>
                  <a:gd name="T65" fmla="*/ 871 h 2085"/>
                  <a:gd name="T66" fmla="*/ 2860 w 3007"/>
                  <a:gd name="T67" fmla="*/ 844 h 2085"/>
                  <a:gd name="T68" fmla="*/ 2670 w 3007"/>
                  <a:gd name="T69" fmla="*/ 806 h 2085"/>
                  <a:gd name="T70" fmla="*/ 2458 w 3007"/>
                  <a:gd name="T71" fmla="*/ 757 h 2085"/>
                  <a:gd name="T72" fmla="*/ 2138 w 3007"/>
                  <a:gd name="T73" fmla="*/ 670 h 2085"/>
                  <a:gd name="T74" fmla="*/ 1959 w 3007"/>
                  <a:gd name="T75" fmla="*/ 604 h 2085"/>
                  <a:gd name="T76" fmla="*/ 1824 w 3007"/>
                  <a:gd name="T77" fmla="*/ 534 h 2085"/>
                  <a:gd name="T78" fmla="*/ 1769 w 3007"/>
                  <a:gd name="T79" fmla="*/ 474 h 2085"/>
                  <a:gd name="T80" fmla="*/ 1753 w 3007"/>
                  <a:gd name="T81" fmla="*/ 436 h 2085"/>
                  <a:gd name="T82" fmla="*/ 1780 w 3007"/>
                  <a:gd name="T83" fmla="*/ 381 h 2085"/>
                  <a:gd name="T84" fmla="*/ 1862 w 3007"/>
                  <a:gd name="T85" fmla="*/ 316 h 2085"/>
                  <a:gd name="T86" fmla="*/ 1986 w 3007"/>
                  <a:gd name="T87" fmla="*/ 267 h 2085"/>
                  <a:gd name="T88" fmla="*/ 2149 w 3007"/>
                  <a:gd name="T89" fmla="*/ 229 h 2085"/>
                  <a:gd name="T90" fmla="*/ 2431 w 3007"/>
                  <a:gd name="T91" fmla="*/ 180 h 2085"/>
                  <a:gd name="T92" fmla="*/ 2827 w 3007"/>
                  <a:gd name="T93" fmla="*/ 125 h 2085"/>
                  <a:gd name="T94" fmla="*/ 3007 w 3007"/>
                  <a:gd name="T95" fmla="*/ 87 h 2085"/>
                  <a:gd name="T96" fmla="*/ 2909 w 3007"/>
                  <a:gd name="T97" fmla="*/ 22 h 2085"/>
                  <a:gd name="T98" fmla="*/ 2676 w 3007"/>
                  <a:gd name="T99" fmla="*/ 66 h 2085"/>
                  <a:gd name="T100" fmla="*/ 2285 w 3007"/>
                  <a:gd name="T101" fmla="*/ 120 h 2085"/>
                  <a:gd name="T102" fmla="*/ 2030 w 3007"/>
                  <a:gd name="T103" fmla="*/ 158 h 2085"/>
                  <a:gd name="T104" fmla="*/ 1791 w 3007"/>
                  <a:gd name="T105" fmla="*/ 202 h 2085"/>
                  <a:gd name="T106" fmla="*/ 1601 w 3007"/>
                  <a:gd name="T107" fmla="*/ 261 h 2085"/>
                  <a:gd name="T108" fmla="*/ 1471 w 3007"/>
                  <a:gd name="T109" fmla="*/ 338 h 2085"/>
                  <a:gd name="T110" fmla="*/ 1438 w 3007"/>
                  <a:gd name="T111" fmla="*/ 387 h 2085"/>
                  <a:gd name="T112" fmla="*/ 1427 w 3007"/>
                  <a:gd name="T113" fmla="*/ 441 h 208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007" h="2085">
                    <a:moveTo>
                      <a:pt x="1427" y="441"/>
                    </a:moveTo>
                    <a:lnTo>
                      <a:pt x="1433" y="474"/>
                    </a:lnTo>
                    <a:lnTo>
                      <a:pt x="1444" y="501"/>
                    </a:lnTo>
                    <a:lnTo>
                      <a:pt x="1460" y="528"/>
                    </a:lnTo>
                    <a:lnTo>
                      <a:pt x="1482" y="550"/>
                    </a:lnTo>
                    <a:lnTo>
                      <a:pt x="1541" y="593"/>
                    </a:lnTo>
                    <a:lnTo>
                      <a:pt x="1623" y="637"/>
                    </a:lnTo>
                    <a:lnTo>
                      <a:pt x="1715" y="670"/>
                    </a:lnTo>
                    <a:lnTo>
                      <a:pt x="1818" y="702"/>
                    </a:lnTo>
                    <a:lnTo>
                      <a:pt x="1927" y="735"/>
                    </a:lnTo>
                    <a:lnTo>
                      <a:pt x="2041" y="762"/>
                    </a:lnTo>
                    <a:lnTo>
                      <a:pt x="2155" y="789"/>
                    </a:lnTo>
                    <a:lnTo>
                      <a:pt x="2269" y="822"/>
                    </a:lnTo>
                    <a:lnTo>
                      <a:pt x="2372" y="849"/>
                    </a:lnTo>
                    <a:lnTo>
                      <a:pt x="2464" y="882"/>
                    </a:lnTo>
                    <a:lnTo>
                      <a:pt x="2551" y="920"/>
                    </a:lnTo>
                    <a:lnTo>
                      <a:pt x="2616" y="958"/>
                    </a:lnTo>
                    <a:lnTo>
                      <a:pt x="2638" y="980"/>
                    </a:lnTo>
                    <a:lnTo>
                      <a:pt x="2659" y="1007"/>
                    </a:lnTo>
                    <a:lnTo>
                      <a:pt x="2676" y="1029"/>
                    </a:lnTo>
                    <a:lnTo>
                      <a:pt x="2681" y="1056"/>
                    </a:lnTo>
                    <a:lnTo>
                      <a:pt x="2681" y="1083"/>
                    </a:lnTo>
                    <a:lnTo>
                      <a:pt x="2676" y="1105"/>
                    </a:lnTo>
                    <a:lnTo>
                      <a:pt x="2665" y="1127"/>
                    </a:lnTo>
                    <a:lnTo>
                      <a:pt x="2643" y="1149"/>
                    </a:lnTo>
                    <a:lnTo>
                      <a:pt x="2616" y="1170"/>
                    </a:lnTo>
                    <a:lnTo>
                      <a:pt x="2583" y="1187"/>
                    </a:lnTo>
                    <a:lnTo>
                      <a:pt x="2545" y="1208"/>
                    </a:lnTo>
                    <a:lnTo>
                      <a:pt x="2502" y="1225"/>
                    </a:lnTo>
                    <a:lnTo>
                      <a:pt x="2448" y="1241"/>
                    </a:lnTo>
                    <a:lnTo>
                      <a:pt x="2388" y="1257"/>
                    </a:lnTo>
                    <a:lnTo>
                      <a:pt x="2328" y="1274"/>
                    </a:lnTo>
                    <a:lnTo>
                      <a:pt x="2258" y="1290"/>
                    </a:lnTo>
                    <a:lnTo>
                      <a:pt x="2106" y="1328"/>
                    </a:lnTo>
                    <a:lnTo>
                      <a:pt x="1932" y="1372"/>
                    </a:lnTo>
                    <a:lnTo>
                      <a:pt x="1742" y="1421"/>
                    </a:lnTo>
                    <a:lnTo>
                      <a:pt x="1531" y="1475"/>
                    </a:lnTo>
                    <a:lnTo>
                      <a:pt x="1308" y="1540"/>
                    </a:lnTo>
                    <a:lnTo>
                      <a:pt x="1069" y="1617"/>
                    </a:lnTo>
                    <a:lnTo>
                      <a:pt x="820" y="1709"/>
                    </a:lnTo>
                    <a:lnTo>
                      <a:pt x="554" y="1818"/>
                    </a:lnTo>
                    <a:lnTo>
                      <a:pt x="282" y="1943"/>
                    </a:lnTo>
                    <a:lnTo>
                      <a:pt x="0" y="2085"/>
                    </a:lnTo>
                    <a:lnTo>
                      <a:pt x="152" y="2085"/>
                    </a:lnTo>
                    <a:lnTo>
                      <a:pt x="244" y="2074"/>
                    </a:lnTo>
                    <a:lnTo>
                      <a:pt x="386" y="1992"/>
                    </a:lnTo>
                    <a:lnTo>
                      <a:pt x="537" y="1910"/>
                    </a:lnTo>
                    <a:lnTo>
                      <a:pt x="700" y="1834"/>
                    </a:lnTo>
                    <a:lnTo>
                      <a:pt x="879" y="1763"/>
                    </a:lnTo>
                    <a:lnTo>
                      <a:pt x="1064" y="1693"/>
                    </a:lnTo>
                    <a:lnTo>
                      <a:pt x="1259" y="1622"/>
                    </a:lnTo>
                    <a:lnTo>
                      <a:pt x="1661" y="1497"/>
                    </a:lnTo>
                    <a:lnTo>
                      <a:pt x="1748" y="1470"/>
                    </a:lnTo>
                    <a:lnTo>
                      <a:pt x="1845" y="1442"/>
                    </a:lnTo>
                    <a:lnTo>
                      <a:pt x="2046" y="1393"/>
                    </a:lnTo>
                    <a:lnTo>
                      <a:pt x="2252" y="1339"/>
                    </a:lnTo>
                    <a:lnTo>
                      <a:pt x="2458" y="1285"/>
                    </a:lnTo>
                    <a:lnTo>
                      <a:pt x="2551" y="1263"/>
                    </a:lnTo>
                    <a:lnTo>
                      <a:pt x="2643" y="1236"/>
                    </a:lnTo>
                    <a:lnTo>
                      <a:pt x="2730" y="1214"/>
                    </a:lnTo>
                    <a:lnTo>
                      <a:pt x="2806" y="1192"/>
                    </a:lnTo>
                    <a:lnTo>
                      <a:pt x="2876" y="1170"/>
                    </a:lnTo>
                    <a:lnTo>
                      <a:pt x="2931" y="1149"/>
                    </a:lnTo>
                    <a:lnTo>
                      <a:pt x="2974" y="1132"/>
                    </a:lnTo>
                    <a:lnTo>
                      <a:pt x="3007" y="1116"/>
                    </a:lnTo>
                    <a:lnTo>
                      <a:pt x="3007" y="871"/>
                    </a:lnTo>
                    <a:lnTo>
                      <a:pt x="2941" y="860"/>
                    </a:lnTo>
                    <a:lnTo>
                      <a:pt x="2860" y="844"/>
                    </a:lnTo>
                    <a:lnTo>
                      <a:pt x="2773" y="827"/>
                    </a:lnTo>
                    <a:lnTo>
                      <a:pt x="2670" y="806"/>
                    </a:lnTo>
                    <a:lnTo>
                      <a:pt x="2567" y="784"/>
                    </a:lnTo>
                    <a:lnTo>
                      <a:pt x="2458" y="757"/>
                    </a:lnTo>
                    <a:lnTo>
                      <a:pt x="2241" y="702"/>
                    </a:lnTo>
                    <a:lnTo>
                      <a:pt x="2138" y="670"/>
                    </a:lnTo>
                    <a:lnTo>
                      <a:pt x="2046" y="637"/>
                    </a:lnTo>
                    <a:lnTo>
                      <a:pt x="1959" y="604"/>
                    </a:lnTo>
                    <a:lnTo>
                      <a:pt x="1883" y="566"/>
                    </a:lnTo>
                    <a:lnTo>
                      <a:pt x="1824" y="534"/>
                    </a:lnTo>
                    <a:lnTo>
                      <a:pt x="1780" y="495"/>
                    </a:lnTo>
                    <a:lnTo>
                      <a:pt x="1769" y="474"/>
                    </a:lnTo>
                    <a:lnTo>
                      <a:pt x="1758" y="457"/>
                    </a:lnTo>
                    <a:lnTo>
                      <a:pt x="1753" y="436"/>
                    </a:lnTo>
                    <a:lnTo>
                      <a:pt x="1758" y="419"/>
                    </a:lnTo>
                    <a:lnTo>
                      <a:pt x="1780" y="381"/>
                    </a:lnTo>
                    <a:lnTo>
                      <a:pt x="1813" y="343"/>
                    </a:lnTo>
                    <a:lnTo>
                      <a:pt x="1862" y="316"/>
                    </a:lnTo>
                    <a:lnTo>
                      <a:pt x="1921" y="289"/>
                    </a:lnTo>
                    <a:lnTo>
                      <a:pt x="1986" y="267"/>
                    </a:lnTo>
                    <a:lnTo>
                      <a:pt x="2062" y="245"/>
                    </a:lnTo>
                    <a:lnTo>
                      <a:pt x="2149" y="229"/>
                    </a:lnTo>
                    <a:lnTo>
                      <a:pt x="2236" y="213"/>
                    </a:lnTo>
                    <a:lnTo>
                      <a:pt x="2431" y="180"/>
                    </a:lnTo>
                    <a:lnTo>
                      <a:pt x="2627" y="158"/>
                    </a:lnTo>
                    <a:lnTo>
                      <a:pt x="2827" y="125"/>
                    </a:lnTo>
                    <a:lnTo>
                      <a:pt x="2920" y="109"/>
                    </a:lnTo>
                    <a:lnTo>
                      <a:pt x="3007" y="87"/>
                    </a:lnTo>
                    <a:lnTo>
                      <a:pt x="3007" y="0"/>
                    </a:lnTo>
                    <a:lnTo>
                      <a:pt x="2909" y="22"/>
                    </a:lnTo>
                    <a:lnTo>
                      <a:pt x="2795" y="44"/>
                    </a:lnTo>
                    <a:lnTo>
                      <a:pt x="2676" y="66"/>
                    </a:lnTo>
                    <a:lnTo>
                      <a:pt x="2551" y="82"/>
                    </a:lnTo>
                    <a:lnTo>
                      <a:pt x="2285" y="120"/>
                    </a:lnTo>
                    <a:lnTo>
                      <a:pt x="2155" y="136"/>
                    </a:lnTo>
                    <a:lnTo>
                      <a:pt x="2030" y="158"/>
                    </a:lnTo>
                    <a:lnTo>
                      <a:pt x="1905" y="174"/>
                    </a:lnTo>
                    <a:lnTo>
                      <a:pt x="1791" y="202"/>
                    </a:lnTo>
                    <a:lnTo>
                      <a:pt x="1688" y="229"/>
                    </a:lnTo>
                    <a:lnTo>
                      <a:pt x="1601" y="261"/>
                    </a:lnTo>
                    <a:lnTo>
                      <a:pt x="1525" y="300"/>
                    </a:lnTo>
                    <a:lnTo>
                      <a:pt x="1471" y="338"/>
                    </a:lnTo>
                    <a:lnTo>
                      <a:pt x="1455" y="359"/>
                    </a:lnTo>
                    <a:lnTo>
                      <a:pt x="1438" y="387"/>
                    </a:lnTo>
                    <a:lnTo>
                      <a:pt x="1427" y="414"/>
                    </a:lnTo>
                    <a:lnTo>
                      <a:pt x="1427" y="4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4106" name="Freeform 10">
                <a:extLst>
                  <a:ext uri="{FF2B5EF4-FFF2-40B4-BE49-F238E27FC236}">
                    <a16:creationId xmlns:a16="http://schemas.microsoft.com/office/drawing/2014/main" id="{CBE2DF12-6933-4FFD-9B63-FF8B98031C67}"/>
                  </a:ext>
                </a:extLst>
              </p:cNvPr>
              <p:cNvSpPr>
                <a:spLocks/>
              </p:cNvSpPr>
              <p:nvPr/>
            </p:nvSpPr>
            <p:spPr bwMode="hidden">
              <a:xfrm>
                <a:off x="4501" y="2317"/>
                <a:ext cx="1248" cy="539"/>
              </a:xfrm>
              <a:custGeom>
                <a:avLst/>
                <a:gdLst/>
                <a:ahLst/>
                <a:cxnLst>
                  <a:cxn ang="0">
                    <a:pos x="0" y="332"/>
                  </a:cxn>
                  <a:cxn ang="0">
                    <a:pos x="0" y="360"/>
                  </a:cxn>
                  <a:cxn ang="0">
                    <a:pos x="5" y="387"/>
                  </a:cxn>
                  <a:cxn ang="0">
                    <a:pos x="27" y="414"/>
                  </a:cxn>
                  <a:cxn ang="0">
                    <a:pos x="54" y="436"/>
                  </a:cxn>
                  <a:cxn ang="0">
                    <a:pos x="92" y="463"/>
                  </a:cxn>
                  <a:cxn ang="0">
                    <a:pos x="141" y="490"/>
                  </a:cxn>
                  <a:cxn ang="0">
                    <a:pos x="195" y="512"/>
                  </a:cxn>
                  <a:cxn ang="0">
                    <a:pos x="255" y="539"/>
                  </a:cxn>
                  <a:cxn ang="0">
                    <a:pos x="212" y="517"/>
                  </a:cxn>
                  <a:cxn ang="0">
                    <a:pos x="179" y="490"/>
                  </a:cxn>
                  <a:cxn ang="0">
                    <a:pos x="157" y="468"/>
                  </a:cxn>
                  <a:cxn ang="0">
                    <a:pos x="141" y="447"/>
                  </a:cxn>
                  <a:cxn ang="0">
                    <a:pos x="136" y="425"/>
                  </a:cxn>
                  <a:cxn ang="0">
                    <a:pos x="136" y="403"/>
                  </a:cxn>
                  <a:cxn ang="0">
                    <a:pos x="141" y="381"/>
                  </a:cxn>
                  <a:cxn ang="0">
                    <a:pos x="157" y="365"/>
                  </a:cxn>
                  <a:cxn ang="0">
                    <a:pos x="179" y="343"/>
                  </a:cxn>
                  <a:cxn ang="0">
                    <a:pos x="201" y="327"/>
                  </a:cxn>
                  <a:cxn ang="0">
                    <a:pos x="266" y="294"/>
                  </a:cxn>
                  <a:cxn ang="0">
                    <a:pos x="353" y="262"/>
                  </a:cxn>
                  <a:cxn ang="0">
                    <a:pos x="445" y="234"/>
                  </a:cxn>
                  <a:cxn ang="0">
                    <a:pos x="554" y="213"/>
                  </a:cxn>
                  <a:cxn ang="0">
                    <a:pos x="662" y="191"/>
                  </a:cxn>
                  <a:cxn ang="0">
                    <a:pos x="890" y="153"/>
                  </a:cxn>
                  <a:cxn ang="0">
                    <a:pos x="993" y="136"/>
                  </a:cxn>
                  <a:cxn ang="0">
                    <a:pos x="1091" y="120"/>
                  </a:cxn>
                  <a:cxn ang="0">
                    <a:pos x="1178" y="115"/>
                  </a:cxn>
                  <a:cxn ang="0">
                    <a:pos x="1248" y="104"/>
                  </a:cxn>
                  <a:cxn ang="0">
                    <a:pos x="1248" y="0"/>
                  </a:cxn>
                  <a:cxn ang="0">
                    <a:pos x="1161" y="22"/>
                  </a:cxn>
                  <a:cxn ang="0">
                    <a:pos x="1069" y="38"/>
                  </a:cxn>
                  <a:cxn ang="0">
                    <a:pos x="874" y="71"/>
                  </a:cxn>
                  <a:cxn ang="0">
                    <a:pos x="673" y="93"/>
                  </a:cxn>
                  <a:cxn ang="0">
                    <a:pos x="483" y="126"/>
                  </a:cxn>
                  <a:cxn ang="0">
                    <a:pos x="391" y="142"/>
                  </a:cxn>
                  <a:cxn ang="0">
                    <a:pos x="309" y="158"/>
                  </a:cxn>
                  <a:cxn ang="0">
                    <a:pos x="228" y="180"/>
                  </a:cxn>
                  <a:cxn ang="0">
                    <a:pos x="163" y="202"/>
                  </a:cxn>
                  <a:cxn ang="0">
                    <a:pos x="103" y="229"/>
                  </a:cxn>
                  <a:cxn ang="0">
                    <a:pos x="54" y="256"/>
                  </a:cxn>
                  <a:cxn ang="0">
                    <a:pos x="22" y="294"/>
                  </a:cxn>
                  <a:cxn ang="0">
                    <a:pos x="0" y="332"/>
                  </a:cxn>
                  <a:cxn ang="0">
                    <a:pos x="0" y="332"/>
                  </a:cxn>
                </a:cxnLst>
                <a:rect l="0" t="0" r="r" b="b"/>
                <a:pathLst>
                  <a:path w="1248" h="539">
                    <a:moveTo>
                      <a:pt x="0" y="332"/>
                    </a:moveTo>
                    <a:lnTo>
                      <a:pt x="0" y="360"/>
                    </a:lnTo>
                    <a:lnTo>
                      <a:pt x="5" y="387"/>
                    </a:lnTo>
                    <a:lnTo>
                      <a:pt x="27" y="414"/>
                    </a:lnTo>
                    <a:lnTo>
                      <a:pt x="54" y="436"/>
                    </a:lnTo>
                    <a:lnTo>
                      <a:pt x="92" y="463"/>
                    </a:lnTo>
                    <a:lnTo>
                      <a:pt x="141" y="490"/>
                    </a:lnTo>
                    <a:lnTo>
                      <a:pt x="195" y="512"/>
                    </a:lnTo>
                    <a:lnTo>
                      <a:pt x="255" y="539"/>
                    </a:lnTo>
                    <a:lnTo>
                      <a:pt x="212" y="517"/>
                    </a:lnTo>
                    <a:lnTo>
                      <a:pt x="179" y="490"/>
                    </a:lnTo>
                    <a:lnTo>
                      <a:pt x="157" y="468"/>
                    </a:lnTo>
                    <a:lnTo>
                      <a:pt x="141" y="447"/>
                    </a:lnTo>
                    <a:lnTo>
                      <a:pt x="136" y="425"/>
                    </a:lnTo>
                    <a:lnTo>
                      <a:pt x="136" y="403"/>
                    </a:lnTo>
                    <a:lnTo>
                      <a:pt x="141" y="381"/>
                    </a:lnTo>
                    <a:lnTo>
                      <a:pt x="157" y="365"/>
                    </a:lnTo>
                    <a:lnTo>
                      <a:pt x="179" y="343"/>
                    </a:lnTo>
                    <a:lnTo>
                      <a:pt x="201" y="327"/>
                    </a:lnTo>
                    <a:lnTo>
                      <a:pt x="266" y="294"/>
                    </a:lnTo>
                    <a:lnTo>
                      <a:pt x="353" y="262"/>
                    </a:lnTo>
                    <a:lnTo>
                      <a:pt x="445" y="234"/>
                    </a:lnTo>
                    <a:lnTo>
                      <a:pt x="554" y="213"/>
                    </a:lnTo>
                    <a:lnTo>
                      <a:pt x="662" y="191"/>
                    </a:lnTo>
                    <a:lnTo>
                      <a:pt x="890" y="153"/>
                    </a:lnTo>
                    <a:lnTo>
                      <a:pt x="993" y="136"/>
                    </a:lnTo>
                    <a:lnTo>
                      <a:pt x="1091" y="120"/>
                    </a:lnTo>
                    <a:lnTo>
                      <a:pt x="1178" y="115"/>
                    </a:lnTo>
                    <a:lnTo>
                      <a:pt x="1248" y="104"/>
                    </a:lnTo>
                    <a:lnTo>
                      <a:pt x="1248" y="0"/>
                    </a:lnTo>
                    <a:lnTo>
                      <a:pt x="1161" y="22"/>
                    </a:lnTo>
                    <a:lnTo>
                      <a:pt x="1069" y="38"/>
                    </a:lnTo>
                    <a:lnTo>
                      <a:pt x="874" y="71"/>
                    </a:lnTo>
                    <a:lnTo>
                      <a:pt x="673" y="93"/>
                    </a:lnTo>
                    <a:lnTo>
                      <a:pt x="483" y="126"/>
                    </a:lnTo>
                    <a:lnTo>
                      <a:pt x="391" y="142"/>
                    </a:lnTo>
                    <a:lnTo>
                      <a:pt x="309" y="158"/>
                    </a:lnTo>
                    <a:lnTo>
                      <a:pt x="228" y="180"/>
                    </a:lnTo>
                    <a:lnTo>
                      <a:pt x="163" y="202"/>
                    </a:lnTo>
                    <a:lnTo>
                      <a:pt x="103" y="229"/>
                    </a:lnTo>
                    <a:lnTo>
                      <a:pt x="54" y="256"/>
                    </a:lnTo>
                    <a:lnTo>
                      <a:pt x="22" y="294"/>
                    </a:lnTo>
                    <a:lnTo>
                      <a:pt x="0" y="332"/>
                    </a:lnTo>
                    <a:lnTo>
                      <a:pt x="0" y="332"/>
                    </a:lnTo>
                    <a:close/>
                  </a:path>
                </a:pathLst>
              </a:custGeom>
              <a:gradFill rotWithShape="0">
                <a:gsLst>
                  <a:gs pos="0">
                    <a:schemeClr val="bg1">
                      <a:gamma/>
                      <a:shade val="87843"/>
                      <a:invGamma/>
                    </a:schemeClr>
                  </a:gs>
                  <a:gs pos="100000">
                    <a:schemeClr val="bg1"/>
                  </a:gs>
                </a:gsLst>
                <a:lin ang="2700000" scaled="1"/>
              </a:gradFill>
              <a:ln w="9525">
                <a:noFill/>
                <a:round/>
                <a:headEnd/>
                <a:tailEnd/>
              </a:ln>
            </p:spPr>
            <p:txBody>
              <a:bodyPr/>
              <a:lstStyle/>
              <a:p>
                <a:pPr eaLnBrk="0" hangingPunct="0">
                  <a:defRPr/>
                </a:pPr>
                <a:endParaRPr lang="en-US" sz="1800">
                  <a:cs typeface="+mn-cs"/>
                </a:endParaRPr>
              </a:p>
            </p:txBody>
          </p:sp>
        </p:grpSp>
        <p:sp>
          <p:nvSpPr>
            <p:cNvPr id="4107" name="Freeform 11">
              <a:extLst>
                <a:ext uri="{FF2B5EF4-FFF2-40B4-BE49-F238E27FC236}">
                  <a16:creationId xmlns:a16="http://schemas.microsoft.com/office/drawing/2014/main" id="{9DEF6308-F0CA-4BC6-905A-85BD925FBD0B}"/>
                </a:ext>
              </a:extLst>
            </p:cNvPr>
            <p:cNvSpPr>
              <a:spLocks/>
            </p:cNvSpPr>
            <p:nvPr/>
          </p:nvSpPr>
          <p:spPr bwMode="hidden">
            <a:xfrm>
              <a:off x="3322" y="1341"/>
              <a:ext cx="1825" cy="1537"/>
            </a:xfrm>
            <a:custGeom>
              <a:avLst/>
              <a:gdLst/>
              <a:ahLst/>
              <a:cxnLst>
                <a:cxn ang="0">
                  <a:pos x="982" y="1061"/>
                </a:cxn>
                <a:cxn ang="0">
                  <a:pos x="1357" y="1012"/>
                </a:cxn>
                <a:cxn ang="0">
                  <a:pos x="1666" y="957"/>
                </a:cxn>
                <a:cxn ang="0">
                  <a:pos x="1916" y="897"/>
                </a:cxn>
                <a:cxn ang="0">
                  <a:pos x="2100" y="832"/>
                </a:cxn>
                <a:cxn ang="0">
                  <a:pos x="2220" y="756"/>
                </a:cxn>
                <a:cxn ang="0">
                  <a:pos x="2285" y="669"/>
                </a:cxn>
                <a:cxn ang="0">
                  <a:pos x="2290" y="560"/>
                </a:cxn>
                <a:cxn ang="0">
                  <a:pos x="2241" y="457"/>
                </a:cxn>
                <a:cxn ang="0">
                  <a:pos x="2144" y="364"/>
                </a:cxn>
                <a:cxn ang="0">
                  <a:pos x="2008" y="277"/>
                </a:cxn>
                <a:cxn ang="0">
                  <a:pos x="1769" y="157"/>
                </a:cxn>
                <a:cxn ang="0">
                  <a:pos x="1612" y="92"/>
                </a:cxn>
                <a:cxn ang="0">
                  <a:pos x="1476" y="43"/>
                </a:cxn>
                <a:cxn ang="0">
                  <a:pos x="1384" y="10"/>
                </a:cxn>
                <a:cxn ang="0">
                  <a:pos x="1346" y="0"/>
                </a:cxn>
                <a:cxn ang="0">
                  <a:pos x="1655" y="119"/>
                </a:cxn>
                <a:cxn ang="0">
                  <a:pos x="1948" y="255"/>
                </a:cxn>
                <a:cxn ang="0">
                  <a:pos x="2068" y="326"/>
                </a:cxn>
                <a:cxn ang="0">
                  <a:pos x="2171" y="402"/>
                </a:cxn>
                <a:cxn ang="0">
                  <a:pos x="2236" y="478"/>
                </a:cxn>
                <a:cxn ang="0">
                  <a:pos x="2263" y="560"/>
                </a:cxn>
                <a:cxn ang="0">
                  <a:pos x="2241" y="636"/>
                </a:cxn>
                <a:cxn ang="0">
                  <a:pos x="2171" y="702"/>
                </a:cxn>
                <a:cxn ang="0">
                  <a:pos x="2062" y="756"/>
                </a:cxn>
                <a:cxn ang="0">
                  <a:pos x="1921" y="800"/>
                </a:cxn>
                <a:cxn ang="0">
                  <a:pos x="1748" y="843"/>
                </a:cxn>
                <a:cxn ang="0">
                  <a:pos x="1351" y="908"/>
                </a:cxn>
                <a:cxn ang="0">
                  <a:pos x="923" y="968"/>
                </a:cxn>
                <a:cxn ang="0">
                  <a:pos x="521" y="1028"/>
                </a:cxn>
                <a:cxn ang="0">
                  <a:pos x="353" y="1066"/>
                </a:cxn>
                <a:cxn ang="0">
                  <a:pos x="206" y="1104"/>
                </a:cxn>
                <a:cxn ang="0">
                  <a:pos x="92" y="1148"/>
                </a:cxn>
                <a:cxn ang="0">
                  <a:pos x="22" y="1202"/>
                </a:cxn>
                <a:cxn ang="0">
                  <a:pos x="0" y="1262"/>
                </a:cxn>
                <a:cxn ang="0">
                  <a:pos x="27" y="1327"/>
                </a:cxn>
                <a:cxn ang="0">
                  <a:pos x="98" y="1382"/>
                </a:cxn>
                <a:cxn ang="0">
                  <a:pos x="196" y="1425"/>
                </a:cxn>
                <a:cxn ang="0">
                  <a:pos x="326" y="1469"/>
                </a:cxn>
                <a:cxn ang="0">
                  <a:pos x="217" y="1414"/>
                </a:cxn>
                <a:cxn ang="0">
                  <a:pos x="147" y="1360"/>
                </a:cxn>
                <a:cxn ang="0">
                  <a:pos x="120" y="1306"/>
                </a:cxn>
                <a:cxn ang="0">
                  <a:pos x="141" y="1257"/>
                </a:cxn>
                <a:cxn ang="0">
                  <a:pos x="212" y="1208"/>
                </a:cxn>
                <a:cxn ang="0">
                  <a:pos x="342" y="1164"/>
                </a:cxn>
                <a:cxn ang="0">
                  <a:pos x="527" y="1121"/>
                </a:cxn>
                <a:cxn ang="0">
                  <a:pos x="771" y="1088"/>
                </a:cxn>
              </a:cxnLst>
              <a:rect l="0" t="0" r="r" b="b"/>
              <a:pathLst>
                <a:path w="2296" h="1469">
                  <a:moveTo>
                    <a:pt x="771" y="1088"/>
                  </a:moveTo>
                  <a:lnTo>
                    <a:pt x="982" y="1061"/>
                  </a:lnTo>
                  <a:lnTo>
                    <a:pt x="1178" y="1034"/>
                  </a:lnTo>
                  <a:lnTo>
                    <a:pt x="1357" y="1012"/>
                  </a:lnTo>
                  <a:lnTo>
                    <a:pt x="1520" y="985"/>
                  </a:lnTo>
                  <a:lnTo>
                    <a:pt x="1666" y="957"/>
                  </a:lnTo>
                  <a:lnTo>
                    <a:pt x="1796" y="930"/>
                  </a:lnTo>
                  <a:lnTo>
                    <a:pt x="1916" y="897"/>
                  </a:lnTo>
                  <a:lnTo>
                    <a:pt x="2013" y="870"/>
                  </a:lnTo>
                  <a:lnTo>
                    <a:pt x="2100" y="832"/>
                  </a:lnTo>
                  <a:lnTo>
                    <a:pt x="2171" y="800"/>
                  </a:lnTo>
                  <a:lnTo>
                    <a:pt x="2220" y="756"/>
                  </a:lnTo>
                  <a:lnTo>
                    <a:pt x="2263" y="712"/>
                  </a:lnTo>
                  <a:lnTo>
                    <a:pt x="2285" y="669"/>
                  </a:lnTo>
                  <a:lnTo>
                    <a:pt x="2296" y="614"/>
                  </a:lnTo>
                  <a:lnTo>
                    <a:pt x="2290" y="560"/>
                  </a:lnTo>
                  <a:lnTo>
                    <a:pt x="2269" y="500"/>
                  </a:lnTo>
                  <a:lnTo>
                    <a:pt x="2241" y="457"/>
                  </a:lnTo>
                  <a:lnTo>
                    <a:pt x="2198" y="408"/>
                  </a:lnTo>
                  <a:lnTo>
                    <a:pt x="2144" y="364"/>
                  </a:lnTo>
                  <a:lnTo>
                    <a:pt x="2079" y="321"/>
                  </a:lnTo>
                  <a:lnTo>
                    <a:pt x="2008" y="277"/>
                  </a:lnTo>
                  <a:lnTo>
                    <a:pt x="1927" y="234"/>
                  </a:lnTo>
                  <a:lnTo>
                    <a:pt x="1769" y="157"/>
                  </a:lnTo>
                  <a:lnTo>
                    <a:pt x="1688" y="125"/>
                  </a:lnTo>
                  <a:lnTo>
                    <a:pt x="1612" y="92"/>
                  </a:lnTo>
                  <a:lnTo>
                    <a:pt x="1536" y="65"/>
                  </a:lnTo>
                  <a:lnTo>
                    <a:pt x="1476" y="43"/>
                  </a:lnTo>
                  <a:lnTo>
                    <a:pt x="1422" y="27"/>
                  </a:lnTo>
                  <a:lnTo>
                    <a:pt x="1384" y="10"/>
                  </a:lnTo>
                  <a:lnTo>
                    <a:pt x="1357" y="5"/>
                  </a:lnTo>
                  <a:lnTo>
                    <a:pt x="1346" y="0"/>
                  </a:lnTo>
                  <a:lnTo>
                    <a:pt x="1498" y="54"/>
                  </a:lnTo>
                  <a:lnTo>
                    <a:pt x="1655" y="119"/>
                  </a:lnTo>
                  <a:lnTo>
                    <a:pt x="1807" y="185"/>
                  </a:lnTo>
                  <a:lnTo>
                    <a:pt x="1948" y="255"/>
                  </a:lnTo>
                  <a:lnTo>
                    <a:pt x="2013" y="288"/>
                  </a:lnTo>
                  <a:lnTo>
                    <a:pt x="2068" y="326"/>
                  </a:lnTo>
                  <a:lnTo>
                    <a:pt x="2122" y="364"/>
                  </a:lnTo>
                  <a:lnTo>
                    <a:pt x="2171" y="402"/>
                  </a:lnTo>
                  <a:lnTo>
                    <a:pt x="2209" y="440"/>
                  </a:lnTo>
                  <a:lnTo>
                    <a:pt x="2236" y="478"/>
                  </a:lnTo>
                  <a:lnTo>
                    <a:pt x="2252" y="522"/>
                  </a:lnTo>
                  <a:lnTo>
                    <a:pt x="2263" y="560"/>
                  </a:lnTo>
                  <a:lnTo>
                    <a:pt x="2258" y="598"/>
                  </a:lnTo>
                  <a:lnTo>
                    <a:pt x="2241" y="636"/>
                  </a:lnTo>
                  <a:lnTo>
                    <a:pt x="2214" y="669"/>
                  </a:lnTo>
                  <a:lnTo>
                    <a:pt x="2171" y="702"/>
                  </a:lnTo>
                  <a:lnTo>
                    <a:pt x="2122" y="729"/>
                  </a:lnTo>
                  <a:lnTo>
                    <a:pt x="2062" y="756"/>
                  </a:lnTo>
                  <a:lnTo>
                    <a:pt x="1997" y="778"/>
                  </a:lnTo>
                  <a:lnTo>
                    <a:pt x="1921" y="800"/>
                  </a:lnTo>
                  <a:lnTo>
                    <a:pt x="1834" y="821"/>
                  </a:lnTo>
                  <a:lnTo>
                    <a:pt x="1748" y="843"/>
                  </a:lnTo>
                  <a:lnTo>
                    <a:pt x="1552" y="876"/>
                  </a:lnTo>
                  <a:lnTo>
                    <a:pt x="1351" y="908"/>
                  </a:lnTo>
                  <a:lnTo>
                    <a:pt x="1134" y="941"/>
                  </a:lnTo>
                  <a:lnTo>
                    <a:pt x="923" y="968"/>
                  </a:lnTo>
                  <a:lnTo>
                    <a:pt x="716" y="995"/>
                  </a:lnTo>
                  <a:lnTo>
                    <a:pt x="521" y="1028"/>
                  </a:lnTo>
                  <a:lnTo>
                    <a:pt x="434" y="1044"/>
                  </a:lnTo>
                  <a:lnTo>
                    <a:pt x="353" y="1066"/>
                  </a:lnTo>
                  <a:lnTo>
                    <a:pt x="277" y="1082"/>
                  </a:lnTo>
                  <a:lnTo>
                    <a:pt x="206" y="1104"/>
                  </a:lnTo>
                  <a:lnTo>
                    <a:pt x="147" y="1126"/>
                  </a:lnTo>
                  <a:lnTo>
                    <a:pt x="92" y="1148"/>
                  </a:lnTo>
                  <a:lnTo>
                    <a:pt x="54" y="1175"/>
                  </a:lnTo>
                  <a:lnTo>
                    <a:pt x="22" y="1202"/>
                  </a:lnTo>
                  <a:lnTo>
                    <a:pt x="6" y="1229"/>
                  </a:lnTo>
                  <a:lnTo>
                    <a:pt x="0" y="1262"/>
                  </a:lnTo>
                  <a:lnTo>
                    <a:pt x="11" y="1295"/>
                  </a:lnTo>
                  <a:lnTo>
                    <a:pt x="27" y="1327"/>
                  </a:lnTo>
                  <a:lnTo>
                    <a:pt x="54" y="1355"/>
                  </a:lnTo>
                  <a:lnTo>
                    <a:pt x="98" y="1382"/>
                  </a:lnTo>
                  <a:lnTo>
                    <a:pt x="141" y="1404"/>
                  </a:lnTo>
                  <a:lnTo>
                    <a:pt x="196" y="1425"/>
                  </a:lnTo>
                  <a:lnTo>
                    <a:pt x="261" y="1447"/>
                  </a:lnTo>
                  <a:lnTo>
                    <a:pt x="326" y="1469"/>
                  </a:lnTo>
                  <a:lnTo>
                    <a:pt x="266" y="1442"/>
                  </a:lnTo>
                  <a:lnTo>
                    <a:pt x="217" y="1414"/>
                  </a:lnTo>
                  <a:lnTo>
                    <a:pt x="174" y="1387"/>
                  </a:lnTo>
                  <a:lnTo>
                    <a:pt x="147" y="1360"/>
                  </a:lnTo>
                  <a:lnTo>
                    <a:pt x="125" y="1333"/>
                  </a:lnTo>
                  <a:lnTo>
                    <a:pt x="120" y="1306"/>
                  </a:lnTo>
                  <a:lnTo>
                    <a:pt x="125" y="1278"/>
                  </a:lnTo>
                  <a:lnTo>
                    <a:pt x="141" y="1257"/>
                  </a:lnTo>
                  <a:lnTo>
                    <a:pt x="174" y="1229"/>
                  </a:lnTo>
                  <a:lnTo>
                    <a:pt x="212" y="1208"/>
                  </a:lnTo>
                  <a:lnTo>
                    <a:pt x="272" y="1186"/>
                  </a:lnTo>
                  <a:lnTo>
                    <a:pt x="342" y="1164"/>
                  </a:lnTo>
                  <a:lnTo>
                    <a:pt x="423" y="1142"/>
                  </a:lnTo>
                  <a:lnTo>
                    <a:pt x="527" y="1121"/>
                  </a:lnTo>
                  <a:lnTo>
                    <a:pt x="641" y="1104"/>
                  </a:lnTo>
                  <a:lnTo>
                    <a:pt x="771" y="1088"/>
                  </a:lnTo>
                  <a:lnTo>
                    <a:pt x="771" y="1088"/>
                  </a:lnTo>
                  <a:close/>
                </a:path>
              </a:pathLst>
            </a:custGeom>
            <a:gradFill rotWithShape="0">
              <a:gsLst>
                <a:gs pos="0">
                  <a:schemeClr val="bg1">
                    <a:gamma/>
                    <a:shade val="84706"/>
                    <a:invGamma/>
                  </a:schemeClr>
                </a:gs>
                <a:gs pos="100000">
                  <a:schemeClr val="bg1"/>
                </a:gs>
              </a:gsLst>
              <a:lin ang="2700000" scaled="1"/>
            </a:gradFill>
            <a:ln w="9525">
              <a:noFill/>
              <a:round/>
              <a:headEnd/>
              <a:tailEnd/>
            </a:ln>
          </p:spPr>
          <p:txBody>
            <a:bodyPr/>
            <a:lstStyle/>
            <a:p>
              <a:pPr eaLnBrk="0" hangingPunct="0">
                <a:defRPr/>
              </a:pPr>
              <a:endParaRPr lang="en-US" sz="1800">
                <a:cs typeface="+mn-cs"/>
              </a:endParaRPr>
            </a:p>
          </p:txBody>
        </p:sp>
        <p:sp>
          <p:nvSpPr>
            <p:cNvPr id="1037" name="Freeform 12">
              <a:extLst>
                <a:ext uri="{FF2B5EF4-FFF2-40B4-BE49-F238E27FC236}">
                  <a16:creationId xmlns:a16="http://schemas.microsoft.com/office/drawing/2014/main" id="{87209438-3E9F-4769-A039-AF26514BB327}"/>
                </a:ext>
              </a:extLst>
            </p:cNvPr>
            <p:cNvSpPr>
              <a:spLocks/>
            </p:cNvSpPr>
            <p:nvPr/>
          </p:nvSpPr>
          <p:spPr bwMode="hidden">
            <a:xfrm>
              <a:off x="0" y="0"/>
              <a:ext cx="5758" cy="1776"/>
            </a:xfrm>
            <a:custGeom>
              <a:avLst/>
              <a:gdLst>
                <a:gd name="T0" fmla="*/ 0 w 5740"/>
                <a:gd name="T1" fmla="*/ 0 h 1906"/>
                <a:gd name="T2" fmla="*/ 0 w 5740"/>
                <a:gd name="T3" fmla="*/ 1776 h 1906"/>
                <a:gd name="T4" fmla="*/ 5758 w 5740"/>
                <a:gd name="T5" fmla="*/ 1776 h 1906"/>
                <a:gd name="T6" fmla="*/ 5758 w 5740"/>
                <a:gd name="T7" fmla="*/ 0 h 1906"/>
                <a:gd name="T8" fmla="*/ 0 w 5740"/>
                <a:gd name="T9" fmla="*/ 0 h 1906"/>
                <a:gd name="T10" fmla="*/ 0 w 5740"/>
                <a:gd name="T11" fmla="*/ 0 h 190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740" h="1906">
                  <a:moveTo>
                    <a:pt x="0" y="0"/>
                  </a:moveTo>
                  <a:lnTo>
                    <a:pt x="0" y="1906"/>
                  </a:lnTo>
                  <a:lnTo>
                    <a:pt x="5740" y="1906"/>
                  </a:lnTo>
                  <a:lnTo>
                    <a:pt x="5740" y="0"/>
                  </a:lnTo>
                  <a:lnTo>
                    <a:pt x="0" y="0"/>
                  </a:lnTo>
                  <a:close/>
                </a:path>
              </a:pathLst>
            </a:custGeom>
            <a:gradFill rotWithShape="0">
              <a:gsLst>
                <a:gs pos="0">
                  <a:schemeClr val="bg2"/>
                </a:gs>
                <a:gs pos="100000">
                  <a:schemeClr val="bg1"/>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grpSp>
      <p:sp>
        <p:nvSpPr>
          <p:cNvPr id="4109" name="Rectangle 13">
            <a:extLst>
              <a:ext uri="{FF2B5EF4-FFF2-40B4-BE49-F238E27FC236}">
                <a16:creationId xmlns:a16="http://schemas.microsoft.com/office/drawing/2014/main" id="{6458BB48-1AC5-4E9D-AB1C-14ED72B23652}"/>
              </a:ext>
            </a:extLst>
          </p:cNvPr>
          <p:cNvSpPr>
            <a:spLocks noGrp="1" noRot="1" noChangeArrowheads="1"/>
          </p:cNvSpPr>
          <p:nvPr>
            <p:ph type="title"/>
          </p:nvPr>
        </p:nvSpPr>
        <p:spPr bwMode="auto">
          <a:xfrm>
            <a:off x="457200" y="274638"/>
            <a:ext cx="8229600" cy="114300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4110" name="Rectangle 14">
            <a:extLst>
              <a:ext uri="{FF2B5EF4-FFF2-40B4-BE49-F238E27FC236}">
                <a16:creationId xmlns:a16="http://schemas.microsoft.com/office/drawing/2014/main" id="{A14EADC9-9DF2-40A7-83C7-57AABEF7B5E4}"/>
              </a:ext>
            </a:extLst>
          </p:cNvPr>
          <p:cNvSpPr>
            <a:spLocks noGrp="1" noChangeArrowheads="1"/>
          </p:cNvSpPr>
          <p:nvPr>
            <p:ph type="ftr" sz="quarter" idx="3"/>
          </p:nvPr>
        </p:nvSpPr>
        <p:spPr bwMode="auto">
          <a:xfrm>
            <a:off x="3124200" y="6248400"/>
            <a:ext cx="2895600" cy="47625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ctr" eaLnBrk="1" hangingPunct="1">
              <a:defRPr sz="1200">
                <a:latin typeface="Arial" charset="0"/>
                <a:cs typeface="+mn-cs"/>
              </a:defRPr>
            </a:lvl1pPr>
          </a:lstStyle>
          <a:p>
            <a:pPr>
              <a:defRPr/>
            </a:pPr>
            <a:endParaRPr lang="en-US"/>
          </a:p>
        </p:txBody>
      </p:sp>
      <p:sp>
        <p:nvSpPr>
          <p:cNvPr id="4111" name="Rectangle 15">
            <a:extLst>
              <a:ext uri="{FF2B5EF4-FFF2-40B4-BE49-F238E27FC236}">
                <a16:creationId xmlns:a16="http://schemas.microsoft.com/office/drawing/2014/main" id="{332E9A06-FA93-44FA-B6FF-6A204043DB38}"/>
              </a:ext>
            </a:extLst>
          </p:cNvPr>
          <p:cNvSpPr>
            <a:spLocks noGrp="1" noChangeArrowheads="1"/>
          </p:cNvSpPr>
          <p:nvPr>
            <p:ph type="body" idx="1"/>
          </p:nvPr>
        </p:nvSpPr>
        <p:spPr bwMode="auto">
          <a:xfrm>
            <a:off x="457200" y="1600202"/>
            <a:ext cx="8229600" cy="452596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32" name="Text Box 16">
            <a:extLst>
              <a:ext uri="{FF2B5EF4-FFF2-40B4-BE49-F238E27FC236}">
                <a16:creationId xmlns:a16="http://schemas.microsoft.com/office/drawing/2014/main" id="{7BD664C8-7082-4E64-B983-8ABC080BBDC6}"/>
              </a:ext>
            </a:extLst>
          </p:cNvPr>
          <p:cNvSpPr txBox="1">
            <a:spLocks noChangeArrowheads="1"/>
          </p:cNvSpPr>
          <p:nvPr/>
        </p:nvSpPr>
        <p:spPr bwMode="auto">
          <a:xfrm>
            <a:off x="8305800" y="304802"/>
            <a:ext cx="5334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Garamond" pitchFamily="18" charset="0"/>
              </a:defRPr>
            </a:lvl1pPr>
            <a:lvl2pPr marL="742950" indent="-285750" eaLnBrk="0" hangingPunct="0">
              <a:defRPr>
                <a:solidFill>
                  <a:schemeClr val="tx1"/>
                </a:solidFill>
                <a:latin typeface="Garamond" pitchFamily="18" charset="0"/>
              </a:defRPr>
            </a:lvl2pPr>
            <a:lvl3pPr marL="1143000" indent="-228600" eaLnBrk="0" hangingPunct="0">
              <a:defRPr>
                <a:solidFill>
                  <a:schemeClr val="tx1"/>
                </a:solidFill>
                <a:latin typeface="Garamond" pitchFamily="18" charset="0"/>
              </a:defRPr>
            </a:lvl3pPr>
            <a:lvl4pPr marL="1600200" indent="-228600" eaLnBrk="0" hangingPunct="0">
              <a:defRPr>
                <a:solidFill>
                  <a:schemeClr val="tx1"/>
                </a:solidFill>
                <a:latin typeface="Garamond" pitchFamily="18" charset="0"/>
              </a:defRPr>
            </a:lvl4pPr>
            <a:lvl5pPr marL="2057400" indent="-228600" eaLnBrk="0" hangingPunct="0">
              <a:defRPr>
                <a:solidFill>
                  <a:schemeClr val="tx1"/>
                </a:solidFill>
                <a:latin typeface="Garamond" pitchFamily="18" charset="0"/>
              </a:defRPr>
            </a:lvl5pPr>
            <a:lvl6pPr marL="2514600" indent="-228600" eaLnBrk="0" fontAlgn="base" hangingPunct="0">
              <a:spcBef>
                <a:spcPct val="0"/>
              </a:spcBef>
              <a:spcAft>
                <a:spcPct val="0"/>
              </a:spcAft>
              <a:defRPr>
                <a:solidFill>
                  <a:schemeClr val="tx1"/>
                </a:solidFill>
                <a:latin typeface="Garamond" pitchFamily="18" charset="0"/>
              </a:defRPr>
            </a:lvl6pPr>
            <a:lvl7pPr marL="2971800" indent="-228600" eaLnBrk="0" fontAlgn="base" hangingPunct="0">
              <a:spcBef>
                <a:spcPct val="0"/>
              </a:spcBef>
              <a:spcAft>
                <a:spcPct val="0"/>
              </a:spcAft>
              <a:defRPr>
                <a:solidFill>
                  <a:schemeClr val="tx1"/>
                </a:solidFill>
                <a:latin typeface="Garamond" pitchFamily="18" charset="0"/>
              </a:defRPr>
            </a:lvl7pPr>
            <a:lvl8pPr marL="3429000" indent="-228600" eaLnBrk="0" fontAlgn="base" hangingPunct="0">
              <a:spcBef>
                <a:spcPct val="0"/>
              </a:spcBef>
              <a:spcAft>
                <a:spcPct val="0"/>
              </a:spcAft>
              <a:defRPr>
                <a:solidFill>
                  <a:schemeClr val="tx1"/>
                </a:solidFill>
                <a:latin typeface="Garamond" pitchFamily="18" charset="0"/>
              </a:defRPr>
            </a:lvl8pPr>
            <a:lvl9pPr marL="3886200" indent="-228600" eaLnBrk="0" fontAlgn="base" hangingPunct="0">
              <a:spcBef>
                <a:spcPct val="0"/>
              </a:spcBef>
              <a:spcAft>
                <a:spcPct val="0"/>
              </a:spcAft>
              <a:defRPr>
                <a:solidFill>
                  <a:schemeClr val="tx1"/>
                </a:solidFill>
                <a:latin typeface="Garamond" pitchFamily="18" charset="0"/>
              </a:defRPr>
            </a:lvl9pPr>
          </a:lstStyle>
          <a:p>
            <a:pPr>
              <a:spcBef>
                <a:spcPct val="50000"/>
              </a:spcBef>
              <a:defRPr/>
            </a:pPr>
            <a:endParaRPr lang="en-US" altLang="en-US" sz="1800">
              <a:cs typeface="Arial" charset="0"/>
            </a:endParaRPr>
          </a:p>
        </p:txBody>
      </p:sp>
      <p:sp>
        <p:nvSpPr>
          <p:cNvPr id="1033" name="Text Box 17">
            <a:extLst>
              <a:ext uri="{FF2B5EF4-FFF2-40B4-BE49-F238E27FC236}">
                <a16:creationId xmlns:a16="http://schemas.microsoft.com/office/drawing/2014/main" id="{E6FA71CC-D3A2-491E-97D2-69324DE4FBB6}"/>
              </a:ext>
            </a:extLst>
          </p:cNvPr>
          <p:cNvSpPr txBox="1">
            <a:spLocks noChangeArrowheads="1"/>
          </p:cNvSpPr>
          <p:nvPr/>
        </p:nvSpPr>
        <p:spPr bwMode="auto">
          <a:xfrm>
            <a:off x="8686800" y="228602"/>
            <a:ext cx="4572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Garamond" panose="02020404030301010803" pitchFamily="18" charset="0"/>
                <a:cs typeface="Arial" panose="020B0604020202020204" pitchFamily="34" charset="0"/>
              </a:defRPr>
            </a:lvl1pPr>
            <a:lvl2pPr marL="742950" indent="-285750" eaLnBrk="0" hangingPunct="0">
              <a:defRPr>
                <a:solidFill>
                  <a:schemeClr val="tx1"/>
                </a:solidFill>
                <a:latin typeface="Garamond" panose="02020404030301010803" pitchFamily="18" charset="0"/>
                <a:cs typeface="Arial" panose="020B0604020202020204" pitchFamily="34" charset="0"/>
              </a:defRPr>
            </a:lvl2pPr>
            <a:lvl3pPr marL="1143000" indent="-228600" eaLnBrk="0" hangingPunct="0">
              <a:defRPr>
                <a:solidFill>
                  <a:schemeClr val="tx1"/>
                </a:solidFill>
                <a:latin typeface="Garamond" panose="02020404030301010803" pitchFamily="18" charset="0"/>
                <a:cs typeface="Arial" panose="020B0604020202020204" pitchFamily="34" charset="0"/>
              </a:defRPr>
            </a:lvl3pPr>
            <a:lvl4pPr marL="1600200" indent="-228600" eaLnBrk="0" hangingPunct="0">
              <a:defRPr>
                <a:solidFill>
                  <a:schemeClr val="tx1"/>
                </a:solidFill>
                <a:latin typeface="Garamond" panose="02020404030301010803" pitchFamily="18" charset="0"/>
                <a:cs typeface="Arial" panose="020B0604020202020204" pitchFamily="34" charset="0"/>
              </a:defRPr>
            </a:lvl4pPr>
            <a:lvl5pPr marL="2057400" indent="-228600" eaLnBrk="0" hangingPunct="0">
              <a:defRPr>
                <a:solidFill>
                  <a:schemeClr val="tx1"/>
                </a:solidFill>
                <a:latin typeface="Garamond" panose="02020404030301010803" pitchFamily="18"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Garamond" panose="02020404030301010803" pitchFamily="18"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Garamond" panose="02020404030301010803" pitchFamily="18"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Garamond" panose="02020404030301010803" pitchFamily="18"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Garamond" panose="02020404030301010803" pitchFamily="18" charset="0"/>
                <a:cs typeface="Arial" panose="020B0604020202020204" pitchFamily="34" charset="0"/>
              </a:defRPr>
            </a:lvl9pPr>
          </a:lstStyle>
          <a:p>
            <a:pPr>
              <a:spcBef>
                <a:spcPct val="50000"/>
              </a:spcBef>
            </a:pPr>
            <a:fld id="{08E0F464-0E63-460A-A927-B1D508D6A324}" type="slidenum">
              <a:rPr lang="en-US" altLang="en-US" sz="1800"/>
              <a:pPr>
                <a:spcBef>
                  <a:spcPct val="50000"/>
                </a:spcBef>
              </a:pPr>
              <a:t>‹#›</a:t>
            </a:fld>
            <a:endParaRPr lang="en-US" altLang="en-US" sz="1800"/>
          </a:p>
        </p:txBody>
      </p:sp>
      <p:graphicFrame>
        <p:nvGraphicFramePr>
          <p:cNvPr id="1034" name="Object 18">
            <a:extLst>
              <a:ext uri="{FF2B5EF4-FFF2-40B4-BE49-F238E27FC236}">
                <a16:creationId xmlns:a16="http://schemas.microsoft.com/office/drawing/2014/main" id="{5F798333-F079-4120-82F4-B05839B14E64}"/>
              </a:ext>
            </a:extLst>
          </p:cNvPr>
          <p:cNvGraphicFramePr>
            <a:graphicFrameLocks noChangeAspect="1"/>
          </p:cNvGraphicFramePr>
          <p:nvPr/>
        </p:nvGraphicFramePr>
        <p:xfrm>
          <a:off x="7239000" y="5918200"/>
          <a:ext cx="1905000" cy="939800"/>
        </p:xfrm>
        <a:graphic>
          <a:graphicData uri="http://schemas.openxmlformats.org/presentationml/2006/ole">
            <mc:AlternateContent xmlns:mc="http://schemas.openxmlformats.org/markup-compatibility/2006">
              <mc:Choice xmlns:v="urn:schemas-microsoft-com:vml" Requires="v">
                <p:oleObj spid="_x0000_s3074" name="Bitmap Image" r:id="rId17" imgW="2142857" imgH="1057423" progId="Paint.Picture">
                  <p:embed/>
                </p:oleObj>
              </mc:Choice>
              <mc:Fallback>
                <p:oleObj name="Bitmap Image" r:id="rId17" imgW="2142857" imgH="1057423" progId="Paint.Picture">
                  <p:embed/>
                  <p:pic>
                    <p:nvPicPr>
                      <p:cNvPr id="1034" name="Object 18">
                        <a:extLst>
                          <a:ext uri="{FF2B5EF4-FFF2-40B4-BE49-F238E27FC236}">
                            <a16:creationId xmlns:a16="http://schemas.microsoft.com/office/drawing/2014/main" id="{5F798333-F079-4120-82F4-B05839B14E64}"/>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7239000" y="5918200"/>
                        <a:ext cx="1905000" cy="939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extLst>
      <p:ext uri="{BB962C8B-B14F-4D97-AF65-F5344CB8AC3E}">
        <p14:creationId xmlns:p14="http://schemas.microsoft.com/office/powerpoint/2010/main" val="1788108889"/>
      </p:ext>
    </p:extLst>
  </p:cSld>
  <p:clrMap bg1="dk2" tx1="lt1" bg2="dk1" tx2="lt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 id="2147483715" r:id="rId12"/>
    <p:sldLayoutId id="2147483716" r:id="rId13"/>
    <p:sldLayoutId id="2147483717" r:id="rId14"/>
  </p:sldLayoutIdLst>
  <p:transition>
    <p:random/>
  </p:transition>
  <p:txStyles>
    <p:titleStyle>
      <a:lvl1pPr algn="ctr" rtl="0" eaLnBrk="0" fontAlgn="base" hangingPunct="0">
        <a:spcBef>
          <a:spcPct val="0"/>
        </a:spcBef>
        <a:spcAft>
          <a:spcPct val="0"/>
        </a:spcAft>
        <a:defRPr sz="4400" b="1">
          <a:solidFill>
            <a:schemeClr val="tx2"/>
          </a:solidFill>
          <a:effectLst>
            <a:outerShdw blurRad="38100" dist="38100" dir="2700000" algn="tl">
              <a:srgbClr val="000000"/>
            </a:outerShdw>
          </a:effectLst>
          <a:latin typeface="+mj-lt"/>
          <a:ea typeface="+mj-ea"/>
          <a:cs typeface="+mj-cs"/>
        </a:defRPr>
      </a:lvl1pPr>
      <a:lvl2pPr algn="ctr" rtl="0" eaLnBrk="0" fontAlgn="base" hangingPunct="0">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2pPr>
      <a:lvl3pPr algn="ctr" rtl="0" eaLnBrk="0" fontAlgn="base" hangingPunct="0">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3pPr>
      <a:lvl4pPr algn="ctr" rtl="0" eaLnBrk="0" fontAlgn="base" hangingPunct="0">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4pPr>
      <a:lvl5pPr algn="ctr" rtl="0" eaLnBrk="0" fontAlgn="base" hangingPunct="0">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5pPr>
      <a:lvl6pPr marL="457200" algn="ctr" rtl="0" eaLnBrk="1" fontAlgn="base" hangingPunct="1">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6pPr>
      <a:lvl7pPr marL="914400" algn="ctr" rtl="0" eaLnBrk="1" fontAlgn="base" hangingPunct="1">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7pPr>
      <a:lvl8pPr marL="1371600" algn="ctr" rtl="0" eaLnBrk="1" fontAlgn="base" hangingPunct="1">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8pPr>
      <a:lvl9pPr marL="1828800" algn="ctr" rtl="0" eaLnBrk="1" fontAlgn="base" hangingPunct="1">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9pPr>
    </p:titleStyle>
    <p:bodyStyle>
      <a:lvl1pPr marL="342900" indent="-342900" algn="l" rtl="0" eaLnBrk="0" fontAlgn="base" hangingPunct="0">
        <a:spcBef>
          <a:spcPct val="20000"/>
        </a:spcBef>
        <a:spcAft>
          <a:spcPct val="0"/>
        </a:spcAft>
        <a:buClr>
          <a:schemeClr val="hlink"/>
        </a:buClr>
        <a:buSzPct val="70000"/>
        <a:buFont typeface="Wingdings" panose="05000000000000000000" pitchFamily="2" charset="2"/>
        <a:buChar char="n"/>
        <a:defRPr sz="3200">
          <a:solidFill>
            <a:schemeClr val="tx1"/>
          </a:solidFill>
          <a:effectLst>
            <a:outerShdw blurRad="38100" dist="38100" dir="2700000" algn="tl">
              <a:srgbClr val="000000"/>
            </a:outerShdw>
          </a:effectLst>
          <a:latin typeface="+mn-lt"/>
          <a:ea typeface="+mn-ea"/>
          <a:cs typeface="+mn-cs"/>
        </a:defRPr>
      </a:lvl1pPr>
      <a:lvl2pPr marL="742950" indent="-285750" algn="l" rtl="0" eaLnBrk="0" fontAlgn="base" hangingPunct="0">
        <a:spcBef>
          <a:spcPct val="20000"/>
        </a:spcBef>
        <a:spcAft>
          <a:spcPct val="0"/>
        </a:spcAft>
        <a:buClr>
          <a:schemeClr val="accent2"/>
        </a:buClr>
        <a:buSzPct val="70000"/>
        <a:buFont typeface="Wingdings" panose="05000000000000000000" pitchFamily="2" charset="2"/>
        <a:buChar char="n"/>
        <a:defRPr sz="2800">
          <a:solidFill>
            <a:schemeClr val="tx1"/>
          </a:solidFill>
          <a:effectLst>
            <a:outerShdw blurRad="38100" dist="38100" dir="2700000" algn="tl">
              <a:srgbClr val="000000"/>
            </a:outerShdw>
          </a:effectLst>
          <a:latin typeface="+mn-lt"/>
        </a:defRPr>
      </a:lvl2pPr>
      <a:lvl3pPr marL="1143000" indent="-228600" algn="l" rtl="0" eaLnBrk="0" fontAlgn="base" hangingPunct="0">
        <a:spcBef>
          <a:spcPct val="20000"/>
        </a:spcBef>
        <a:spcAft>
          <a:spcPct val="0"/>
        </a:spcAft>
        <a:buClr>
          <a:schemeClr val="tx2"/>
        </a:buClr>
        <a:buSzPct val="70000"/>
        <a:buFont typeface="Wingdings" panose="05000000000000000000" pitchFamily="2" charset="2"/>
        <a:buChar char="n"/>
        <a:defRPr sz="2400">
          <a:solidFill>
            <a:schemeClr val="tx1"/>
          </a:solidFill>
          <a:effectLst>
            <a:outerShdw blurRad="38100" dist="38100" dir="2700000" algn="tl">
              <a:srgbClr val="000000"/>
            </a:outerShdw>
          </a:effectLst>
          <a:latin typeface="+mn-lt"/>
        </a:defRPr>
      </a:lvl3pPr>
      <a:lvl4pPr marL="1600200" indent="-228600" algn="l" rtl="0" eaLnBrk="0" fontAlgn="base" hangingPunct="0">
        <a:spcBef>
          <a:spcPct val="20000"/>
        </a:spcBef>
        <a:spcAft>
          <a:spcPct val="0"/>
        </a:spcAft>
        <a:buClr>
          <a:schemeClr val="accent2"/>
        </a:buClr>
        <a:buSzPct val="70000"/>
        <a:buFont typeface="Wingdings" panose="05000000000000000000" pitchFamily="2" charset="2"/>
        <a:buChar char="n"/>
        <a:defRPr sz="2000">
          <a:solidFill>
            <a:schemeClr val="tx1"/>
          </a:solidFill>
          <a:effectLst>
            <a:outerShdw blurRad="38100" dist="38100" dir="2700000" algn="tl">
              <a:srgbClr val="000000"/>
            </a:outerShdw>
          </a:effectLst>
          <a:latin typeface="+mn-lt"/>
        </a:defRPr>
      </a:lvl4pPr>
      <a:lvl5pPr marL="2057400" indent="-228600" algn="l" rtl="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effectLst>
            <a:outerShdw blurRad="38100" dist="38100" dir="2700000" algn="tl">
              <a:srgbClr val="000000"/>
            </a:outerShdw>
          </a:effectLst>
          <a:latin typeface="+mn-lt"/>
        </a:defRPr>
      </a:lvl5pPr>
      <a:lvl6pPr marL="2514600" indent="-228600" algn="l" rtl="0" eaLnBrk="1" fontAlgn="base" hangingPunct="1">
        <a:spcBef>
          <a:spcPct val="20000"/>
        </a:spcBef>
        <a:spcAft>
          <a:spcPct val="0"/>
        </a:spcAft>
        <a:buClr>
          <a:schemeClr val="hlink"/>
        </a:buClr>
        <a:buSzPct val="70000"/>
        <a:buFont typeface="Wingdings" pitchFamily="2" charset="2"/>
        <a:buChar char="n"/>
        <a:defRPr sz="2000">
          <a:solidFill>
            <a:schemeClr val="tx1"/>
          </a:solidFill>
          <a:effectLst>
            <a:outerShdw blurRad="38100" dist="38100" dir="2700000" algn="tl">
              <a:srgbClr val="000000"/>
            </a:outerShdw>
          </a:effectLst>
          <a:latin typeface="+mn-lt"/>
        </a:defRPr>
      </a:lvl6pPr>
      <a:lvl7pPr marL="2971800" indent="-228600" algn="l" rtl="0" eaLnBrk="1" fontAlgn="base" hangingPunct="1">
        <a:spcBef>
          <a:spcPct val="20000"/>
        </a:spcBef>
        <a:spcAft>
          <a:spcPct val="0"/>
        </a:spcAft>
        <a:buClr>
          <a:schemeClr val="hlink"/>
        </a:buClr>
        <a:buSzPct val="70000"/>
        <a:buFont typeface="Wingdings" pitchFamily="2" charset="2"/>
        <a:buChar char="n"/>
        <a:defRPr sz="2000">
          <a:solidFill>
            <a:schemeClr val="tx1"/>
          </a:solidFill>
          <a:effectLst>
            <a:outerShdw blurRad="38100" dist="38100" dir="2700000" algn="tl">
              <a:srgbClr val="000000"/>
            </a:outerShdw>
          </a:effectLst>
          <a:latin typeface="+mn-lt"/>
        </a:defRPr>
      </a:lvl7pPr>
      <a:lvl8pPr marL="3429000" indent="-228600" algn="l" rtl="0" eaLnBrk="1" fontAlgn="base" hangingPunct="1">
        <a:spcBef>
          <a:spcPct val="20000"/>
        </a:spcBef>
        <a:spcAft>
          <a:spcPct val="0"/>
        </a:spcAft>
        <a:buClr>
          <a:schemeClr val="hlink"/>
        </a:buClr>
        <a:buSzPct val="70000"/>
        <a:buFont typeface="Wingdings" pitchFamily="2" charset="2"/>
        <a:buChar char="n"/>
        <a:defRPr sz="2000">
          <a:solidFill>
            <a:schemeClr val="tx1"/>
          </a:solidFill>
          <a:effectLst>
            <a:outerShdw blurRad="38100" dist="38100" dir="2700000" algn="tl">
              <a:srgbClr val="000000"/>
            </a:outerShdw>
          </a:effectLst>
          <a:latin typeface="+mn-lt"/>
        </a:defRPr>
      </a:lvl8pPr>
      <a:lvl9pPr marL="3886200" indent="-228600" algn="l" rtl="0" eaLnBrk="1" fontAlgn="base" hangingPunct="1">
        <a:spcBef>
          <a:spcPct val="20000"/>
        </a:spcBef>
        <a:spcAft>
          <a:spcPct val="0"/>
        </a:spcAft>
        <a:buClr>
          <a:schemeClr val="hlink"/>
        </a:buClr>
        <a:buSzPct val="70000"/>
        <a:buFont typeface="Wingdings" pitchFamily="2" charset="2"/>
        <a:buChar char="n"/>
        <a:defRPr sz="2000">
          <a:solidFill>
            <a:schemeClr val="tx1"/>
          </a:solidFill>
          <a:effectLst>
            <a:outerShdw blurRad="38100" dist="38100" dir="2700000" algn="tl">
              <a:srgbClr val="000000"/>
            </a:outerShdw>
          </a:effectLst>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a:defRPr/>
            </a:pPr>
            <a:fld id="{7AA0EA55-D2DC-46AF-995D-D8F5F8F24BCB}" type="datetimeFigureOut">
              <a:rPr lang="en-US" smtClean="0"/>
              <a:pPr>
                <a:defRPr/>
              </a:pPr>
              <a:t>1/30/2020</a:t>
            </a:fld>
            <a:endParaRPr 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defRPr/>
            </a:pPr>
            <a:endParaRPr 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77237F0-1B99-41B5-A965-E1B8A03E44BA}" type="slidenum">
              <a:rPr lang="en-US" altLang="en-US" smtClean="0"/>
              <a:pPr/>
              <a:t>‹#›</a:t>
            </a:fld>
            <a:endParaRPr lang="en-US" altLang="en-US"/>
          </a:p>
        </p:txBody>
      </p:sp>
    </p:spTree>
    <p:extLst>
      <p:ext uri="{BB962C8B-B14F-4D97-AF65-F5344CB8AC3E}">
        <p14:creationId xmlns:p14="http://schemas.microsoft.com/office/powerpoint/2010/main" val="1345392339"/>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 id="2147483702"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34.xml"/></Relationships>
</file>

<file path=ppt/slides/_rels/slide12.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34.xml"/></Relationships>
</file>

<file path=ppt/slides/_rels/slide13.xml.rels><?xml version="1.0" encoding="UTF-8" standalone="yes"?>
<Relationships xmlns="http://schemas.openxmlformats.org/package/2006/relationships"><Relationship Id="rId3" Type="http://schemas.openxmlformats.org/officeDocument/2006/relationships/hyperlink" Target="http://www.transparency.ge/en/node/3117" TargetMode="External"/><Relationship Id="rId2" Type="http://schemas.openxmlformats.org/officeDocument/2006/relationships/hyperlink" Target="https://prezi.com/1yugudjld6rw/e-procurement-reform-in-georgia-everyone-sees-everything/" TargetMode="External"/><Relationship Id="rId1" Type="http://schemas.openxmlformats.org/officeDocument/2006/relationships/slideLayout" Target="../slideLayouts/slideLayout30.xml"/><Relationship Id="rId5" Type="http://schemas.openxmlformats.org/officeDocument/2006/relationships/image" Target="../media/image19.png"/><Relationship Id="rId4" Type="http://schemas.openxmlformats.org/officeDocument/2006/relationships/image" Target="../media/image18.png"/></Relationships>
</file>

<file path=ppt/slides/_rels/slide1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30.xml"/></Relationships>
</file>

<file path=ppt/slides/_rels/slide1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image" Target="../media/image8.jpeg"/><Relationship Id="rId7" Type="http://schemas.openxmlformats.org/officeDocument/2006/relationships/diagramData" Target="../diagrams/data1.xml"/><Relationship Id="rId2" Type="http://schemas.openxmlformats.org/officeDocument/2006/relationships/image" Target="../media/image7.jpeg"/><Relationship Id="rId1" Type="http://schemas.openxmlformats.org/officeDocument/2006/relationships/slideLayout" Target="../slideLayouts/slideLayout43.xml"/><Relationship Id="rId6" Type="http://schemas.openxmlformats.org/officeDocument/2006/relationships/image" Target="../media/image11.jpeg"/><Relationship Id="rId11" Type="http://schemas.microsoft.com/office/2007/relationships/diagramDrawing" Target="../diagrams/drawing1.xml"/><Relationship Id="rId5" Type="http://schemas.openxmlformats.org/officeDocument/2006/relationships/image" Target="../media/image10.jpeg"/><Relationship Id="rId10" Type="http://schemas.openxmlformats.org/officeDocument/2006/relationships/diagramColors" Target="../diagrams/colors1.xml"/><Relationship Id="rId4" Type="http://schemas.openxmlformats.org/officeDocument/2006/relationships/image" Target="../media/image9.png"/><Relationship Id="rId9" Type="http://schemas.openxmlformats.org/officeDocument/2006/relationships/diagramQuickStyle" Target="../diagrams/quickStyle1.xml"/></Relationships>
</file>

<file path=ppt/slides/_rels/slide4.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image" Target="../media/image7.jpeg"/><Relationship Id="rId7" Type="http://schemas.openxmlformats.org/officeDocument/2006/relationships/image" Target="../media/image11.jpeg"/><Relationship Id="rId12" Type="http://schemas.microsoft.com/office/2007/relationships/diagramDrawing" Target="../diagrams/drawing2.xml"/><Relationship Id="rId2" Type="http://schemas.openxmlformats.org/officeDocument/2006/relationships/notesSlide" Target="../notesSlides/notesSlide2.xml"/><Relationship Id="rId1" Type="http://schemas.openxmlformats.org/officeDocument/2006/relationships/slideLayout" Target="../slideLayouts/slideLayout43.xml"/><Relationship Id="rId6" Type="http://schemas.openxmlformats.org/officeDocument/2006/relationships/image" Target="../media/image10.jpeg"/><Relationship Id="rId11" Type="http://schemas.openxmlformats.org/officeDocument/2006/relationships/diagramColors" Target="../diagrams/colors2.xml"/><Relationship Id="rId5" Type="http://schemas.openxmlformats.org/officeDocument/2006/relationships/image" Target="../media/image9.png"/><Relationship Id="rId10" Type="http://schemas.openxmlformats.org/officeDocument/2006/relationships/diagramQuickStyle" Target="../diagrams/quickStyle2.xml"/><Relationship Id="rId4" Type="http://schemas.openxmlformats.org/officeDocument/2006/relationships/image" Target="../media/image8.jpeg"/><Relationship Id="rId9" Type="http://schemas.openxmlformats.org/officeDocument/2006/relationships/diagramLayout" Target="../diagrams/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7.xml"/><Relationship Id="rId4" Type="http://schemas.openxmlformats.org/officeDocument/2006/relationships/image" Target="../media/image13.png"/></Relationships>
</file>

<file path=ppt/slides/_rels/slide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6.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680D1B35-1176-4C96-911D-45B57C99E86F}"/>
              </a:ext>
            </a:extLst>
          </p:cNvPr>
          <p:cNvSpPr>
            <a:spLocks noGrp="1"/>
          </p:cNvSpPr>
          <p:nvPr>
            <p:ph type="subTitle" idx="1"/>
          </p:nvPr>
        </p:nvSpPr>
        <p:spPr>
          <a:xfrm>
            <a:off x="574675" y="3200402"/>
            <a:ext cx="7831138" cy="2625725"/>
          </a:xfrm>
        </p:spPr>
        <p:txBody>
          <a:bodyPr>
            <a:normAutofit fontScale="77500" lnSpcReduction="20000"/>
          </a:bodyPr>
          <a:lstStyle/>
          <a:p>
            <a:pPr fontAlgn="auto">
              <a:spcBef>
                <a:spcPts val="580"/>
              </a:spcBef>
              <a:spcAft>
                <a:spcPts val="0"/>
              </a:spcAft>
              <a:defRPr/>
            </a:pPr>
            <a:endParaRPr lang="en-US" dirty="0">
              <a:solidFill>
                <a:schemeClr val="tx1"/>
              </a:solidFill>
            </a:endParaRPr>
          </a:p>
          <a:p>
            <a:pPr fontAlgn="auto">
              <a:spcBef>
                <a:spcPts val="580"/>
              </a:spcBef>
              <a:spcAft>
                <a:spcPts val="0"/>
              </a:spcAft>
              <a:defRPr/>
            </a:pPr>
            <a:r>
              <a:rPr lang="en-US" dirty="0">
                <a:solidFill>
                  <a:schemeClr val="tx1"/>
                </a:solidFill>
              </a:rPr>
              <a:t>Professor Christopher Yukins</a:t>
            </a:r>
          </a:p>
          <a:p>
            <a:pPr fontAlgn="auto">
              <a:spcBef>
                <a:spcPts val="580"/>
              </a:spcBef>
              <a:spcAft>
                <a:spcPts val="0"/>
              </a:spcAft>
              <a:defRPr/>
            </a:pPr>
            <a:r>
              <a:rPr lang="en-US" dirty="0">
                <a:solidFill>
                  <a:schemeClr val="tx1"/>
                </a:solidFill>
              </a:rPr>
              <a:t>George Washington University Law School</a:t>
            </a:r>
          </a:p>
          <a:p>
            <a:pPr fontAlgn="auto">
              <a:spcBef>
                <a:spcPts val="580"/>
              </a:spcBef>
              <a:spcAft>
                <a:spcPts val="0"/>
              </a:spcAft>
              <a:defRPr/>
            </a:pPr>
            <a:r>
              <a:rPr lang="en-US" dirty="0">
                <a:solidFill>
                  <a:schemeClr val="tx1"/>
                </a:solidFill>
              </a:rPr>
              <a:t>Washington DC</a:t>
            </a:r>
          </a:p>
          <a:p>
            <a:pPr fontAlgn="auto">
              <a:spcBef>
                <a:spcPts val="580"/>
              </a:spcBef>
              <a:spcAft>
                <a:spcPts val="0"/>
              </a:spcAft>
              <a:defRPr/>
            </a:pPr>
            <a:endParaRPr lang="en-US" dirty="0">
              <a:solidFill>
                <a:schemeClr val="tx1"/>
              </a:solidFill>
            </a:endParaRPr>
          </a:p>
          <a:p>
            <a:pPr fontAlgn="auto">
              <a:spcBef>
                <a:spcPts val="580"/>
              </a:spcBef>
              <a:spcAft>
                <a:spcPts val="0"/>
              </a:spcAft>
              <a:defRPr/>
            </a:pPr>
            <a:r>
              <a:rPr lang="en-US" dirty="0">
                <a:solidFill>
                  <a:schemeClr val="tx1"/>
                </a:solidFill>
              </a:rPr>
              <a:t>February 4, 2020</a:t>
            </a:r>
          </a:p>
          <a:p>
            <a:pPr fontAlgn="auto">
              <a:spcBef>
                <a:spcPts val="580"/>
              </a:spcBef>
              <a:spcAft>
                <a:spcPts val="0"/>
              </a:spcAft>
              <a:defRPr/>
            </a:pPr>
            <a:r>
              <a:rPr lang="en-US" sz="2800" dirty="0">
                <a:solidFill>
                  <a:schemeClr val="tx1"/>
                </a:solidFill>
              </a:rPr>
              <a:t>Master in Public Procurement for Sustainable Development </a:t>
            </a:r>
            <a:br>
              <a:rPr lang="en-US" sz="2800" dirty="0">
                <a:solidFill>
                  <a:schemeClr val="tx1"/>
                </a:solidFill>
              </a:rPr>
            </a:br>
            <a:r>
              <a:rPr lang="en-US" sz="2800" dirty="0">
                <a:solidFill>
                  <a:schemeClr val="tx1"/>
                </a:solidFill>
              </a:rPr>
              <a:t>ITC- ILO and University of Turin</a:t>
            </a:r>
            <a:endParaRPr lang="en-US" dirty="0">
              <a:solidFill>
                <a:schemeClr val="tx1"/>
              </a:solidFill>
            </a:endParaRPr>
          </a:p>
        </p:txBody>
      </p:sp>
      <p:sp>
        <p:nvSpPr>
          <p:cNvPr id="2" name="Title 1">
            <a:extLst>
              <a:ext uri="{FF2B5EF4-FFF2-40B4-BE49-F238E27FC236}">
                <a16:creationId xmlns:a16="http://schemas.microsoft.com/office/drawing/2014/main" id="{CF717DD2-1B21-4FBD-BF4B-532D41966402}"/>
              </a:ext>
            </a:extLst>
          </p:cNvPr>
          <p:cNvSpPr>
            <a:spLocks noGrp="1"/>
          </p:cNvSpPr>
          <p:nvPr>
            <p:ph type="ctrTitle"/>
          </p:nvPr>
        </p:nvSpPr>
        <p:spPr>
          <a:xfrm>
            <a:off x="457200" y="1506540"/>
            <a:ext cx="8229600" cy="1470025"/>
          </a:xfrm>
        </p:spPr>
        <p:txBody>
          <a:bodyPr>
            <a:normAutofit/>
          </a:bodyPr>
          <a:lstStyle/>
          <a:p>
            <a:pPr fontAlgn="auto">
              <a:spcAft>
                <a:spcPts val="0"/>
              </a:spcAft>
              <a:defRPr/>
            </a:pPr>
            <a:r>
              <a:rPr b="1" dirty="0">
                <a:solidFill>
                  <a:schemeClr val="bg1"/>
                </a:solidFill>
              </a:rPr>
              <a:t>An Introduction to </a:t>
            </a:r>
            <a:br>
              <a:rPr lang="en-US" b="1" dirty="0">
                <a:solidFill>
                  <a:schemeClr val="bg1"/>
                </a:solidFill>
              </a:rPr>
            </a:br>
            <a:r>
              <a:rPr b="1" dirty="0">
                <a:solidFill>
                  <a:schemeClr val="bg1"/>
                </a:solidFill>
              </a:rPr>
              <a:t>U</a:t>
            </a:r>
            <a:r>
              <a:rPr lang="en-US" b="1" dirty="0">
                <a:solidFill>
                  <a:schemeClr val="bg1"/>
                </a:solidFill>
              </a:rPr>
              <a:t>.S.</a:t>
            </a:r>
            <a:r>
              <a:rPr b="1" dirty="0">
                <a:solidFill>
                  <a:schemeClr val="bg1"/>
                </a:solidFill>
              </a:rPr>
              <a:t> Procurement</a:t>
            </a:r>
            <a:r>
              <a:rPr lang="en-US" b="1" dirty="0">
                <a:solidFill>
                  <a:schemeClr val="bg1"/>
                </a:solidFill>
              </a:rPr>
              <a:t> – Part III</a:t>
            </a:r>
            <a:endParaRPr b="1" dirty="0">
              <a:solidFill>
                <a:schemeClr val="bg1"/>
              </a:solidFill>
              <a:latin typeface="+mn-lt"/>
            </a:endParaRPr>
          </a:p>
        </p:txBody>
      </p:sp>
    </p:spTree>
    <p:extLst>
      <p:ext uri="{BB962C8B-B14F-4D97-AF65-F5344CB8AC3E}">
        <p14:creationId xmlns:p14="http://schemas.microsoft.com/office/powerpoint/2010/main" val="33404571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66F8BBCD-A2BE-408D-9D0B-19C39249EF0C}"/>
              </a:ext>
            </a:extLst>
          </p:cNvPr>
          <p:cNvGraphicFramePr>
            <a:graphicFrameLocks noGrp="1"/>
          </p:cNvGraphicFramePr>
          <p:nvPr/>
        </p:nvGraphicFramePr>
        <p:xfrm>
          <a:off x="0" y="2"/>
          <a:ext cx="9144000" cy="6857999"/>
        </p:xfrm>
        <a:graphic>
          <a:graphicData uri="http://schemas.openxmlformats.org/drawingml/2006/table">
            <a:tbl>
              <a:tblPr firstRow="1" bandRow="1">
                <a:tableStyleId>{5C22544A-7EE6-4342-B048-85BDC9FD1C3A}</a:tableStyleId>
              </a:tblPr>
              <a:tblGrid>
                <a:gridCol w="1524000">
                  <a:extLst>
                    <a:ext uri="{9D8B030D-6E8A-4147-A177-3AD203B41FA5}">
                      <a16:colId xmlns:a16="http://schemas.microsoft.com/office/drawing/2014/main" val="20000"/>
                    </a:ext>
                  </a:extLst>
                </a:gridCol>
                <a:gridCol w="1524000">
                  <a:extLst>
                    <a:ext uri="{9D8B030D-6E8A-4147-A177-3AD203B41FA5}">
                      <a16:colId xmlns:a16="http://schemas.microsoft.com/office/drawing/2014/main" val="20001"/>
                    </a:ext>
                  </a:extLst>
                </a:gridCol>
                <a:gridCol w="1524000">
                  <a:extLst>
                    <a:ext uri="{9D8B030D-6E8A-4147-A177-3AD203B41FA5}">
                      <a16:colId xmlns:a16="http://schemas.microsoft.com/office/drawing/2014/main" val="20002"/>
                    </a:ext>
                  </a:extLst>
                </a:gridCol>
                <a:gridCol w="1524000">
                  <a:extLst>
                    <a:ext uri="{9D8B030D-6E8A-4147-A177-3AD203B41FA5}">
                      <a16:colId xmlns:a16="http://schemas.microsoft.com/office/drawing/2014/main" val="20003"/>
                    </a:ext>
                  </a:extLst>
                </a:gridCol>
                <a:gridCol w="1524000">
                  <a:extLst>
                    <a:ext uri="{9D8B030D-6E8A-4147-A177-3AD203B41FA5}">
                      <a16:colId xmlns:a16="http://schemas.microsoft.com/office/drawing/2014/main" val="20004"/>
                    </a:ext>
                  </a:extLst>
                </a:gridCol>
                <a:gridCol w="1524000">
                  <a:extLst>
                    <a:ext uri="{9D8B030D-6E8A-4147-A177-3AD203B41FA5}">
                      <a16:colId xmlns:a16="http://schemas.microsoft.com/office/drawing/2014/main" val="20005"/>
                    </a:ext>
                  </a:extLst>
                </a:gridCol>
              </a:tblGrid>
              <a:tr h="1325891">
                <a:tc>
                  <a:txBody>
                    <a:bodyPr/>
                    <a:lstStyle/>
                    <a:p>
                      <a:endParaRPr lang="en-US" sz="1600" dirty="0"/>
                    </a:p>
                  </a:txBody>
                  <a:tcPr>
                    <a:solidFill>
                      <a:srgbClr val="800000"/>
                    </a:solidFill>
                  </a:tcPr>
                </a:tc>
                <a:tc>
                  <a:txBody>
                    <a:bodyPr/>
                    <a:lstStyle/>
                    <a:p>
                      <a:pPr algn="ctr"/>
                      <a:r>
                        <a:rPr lang="en-US" sz="2800" dirty="0"/>
                        <a:t>USA</a:t>
                      </a:r>
                      <a:r>
                        <a:rPr lang="en-US" sz="2800" baseline="0" dirty="0"/>
                        <a:t> - Federal</a:t>
                      </a:r>
                      <a:endParaRPr lang="en-US" sz="2800" dirty="0"/>
                    </a:p>
                  </a:txBody>
                  <a:tcPr/>
                </a:tc>
                <a:tc>
                  <a:txBody>
                    <a:bodyPr/>
                    <a:lstStyle/>
                    <a:p>
                      <a:pPr algn="ctr"/>
                      <a:r>
                        <a:rPr lang="en-US" sz="3200" dirty="0"/>
                        <a:t>EU</a:t>
                      </a:r>
                    </a:p>
                  </a:txBody>
                  <a:tcPr/>
                </a:tc>
                <a:tc>
                  <a:txBody>
                    <a:bodyPr/>
                    <a:lstStyle/>
                    <a:p>
                      <a:pPr algn="ctr"/>
                      <a:r>
                        <a:rPr lang="en-US" sz="2000" dirty="0"/>
                        <a:t>World Bank</a:t>
                      </a:r>
                    </a:p>
                  </a:txBody>
                  <a:tcPr/>
                </a:tc>
                <a:tc>
                  <a:txBody>
                    <a:bodyPr/>
                    <a:lstStyle/>
                    <a:p>
                      <a:pPr algn="ctr"/>
                      <a:r>
                        <a:rPr lang="en-US" sz="2800" dirty="0"/>
                        <a:t>WTO</a:t>
                      </a:r>
                    </a:p>
                  </a:txBody>
                  <a:tcPr/>
                </a:tc>
                <a:tc>
                  <a:txBody>
                    <a:bodyPr/>
                    <a:lstStyle/>
                    <a:p>
                      <a:pPr algn="ctr"/>
                      <a:r>
                        <a:rPr lang="en-US" sz="2000" dirty="0"/>
                        <a:t>USA</a:t>
                      </a:r>
                      <a:r>
                        <a:rPr lang="en-US" sz="2000" baseline="0" dirty="0"/>
                        <a:t> Model Law for States</a:t>
                      </a:r>
                      <a:endParaRPr lang="en-US" sz="2000" dirty="0"/>
                    </a:p>
                  </a:txBody>
                  <a:tcPr/>
                </a:tc>
                <a:extLst>
                  <a:ext uri="{0D108BD9-81ED-4DB2-BD59-A6C34878D82A}">
                    <a16:rowId xmlns:a16="http://schemas.microsoft.com/office/drawing/2014/main" val="10000"/>
                  </a:ext>
                </a:extLst>
              </a:tr>
              <a:tr h="532737">
                <a:tc>
                  <a:txBody>
                    <a:bodyPr/>
                    <a:lstStyle/>
                    <a:p>
                      <a:r>
                        <a:rPr lang="en-US" sz="1400" dirty="0"/>
                        <a:t>Acquisition</a:t>
                      </a:r>
                      <a:r>
                        <a:rPr lang="en-US" sz="1400" baseline="0" dirty="0"/>
                        <a:t> Planning</a:t>
                      </a:r>
                      <a:endParaRPr lang="en-US" sz="1400" dirty="0"/>
                    </a:p>
                  </a:txBody>
                  <a:tcPr/>
                </a:tc>
                <a:tc>
                  <a:txBody>
                    <a:bodyPr/>
                    <a:lstStyle/>
                    <a:p>
                      <a:endParaRPr lang="en-US" sz="1800" dirty="0"/>
                    </a:p>
                  </a:txBody>
                  <a:tcPr>
                    <a:solidFill>
                      <a:srgbClr val="FFFF00"/>
                    </a:solidFill>
                  </a:tcPr>
                </a:tc>
                <a:tc>
                  <a:txBody>
                    <a:bodyPr/>
                    <a:lstStyle/>
                    <a:p>
                      <a:endParaRPr lang="en-US" sz="1800" dirty="0"/>
                    </a:p>
                  </a:txBody>
                  <a:tcPr>
                    <a:solidFill>
                      <a:srgbClr val="00B050"/>
                    </a:solidFill>
                  </a:tcPr>
                </a:tc>
                <a:tc>
                  <a:txBody>
                    <a:bodyPr/>
                    <a:lstStyle/>
                    <a:p>
                      <a:endParaRPr lang="en-US" sz="1800" dirty="0"/>
                    </a:p>
                  </a:txBody>
                  <a:tcPr>
                    <a:solidFill>
                      <a:srgbClr val="00B050"/>
                    </a:solidFill>
                  </a:tcPr>
                </a:tc>
                <a:tc>
                  <a:txBody>
                    <a:bodyPr/>
                    <a:lstStyle/>
                    <a:p>
                      <a:endParaRPr lang="en-US" sz="1800" dirty="0"/>
                    </a:p>
                  </a:txBody>
                  <a:tcPr>
                    <a:solidFill>
                      <a:srgbClr val="00B050"/>
                    </a:solidFill>
                  </a:tcPr>
                </a:tc>
                <a:tc>
                  <a:txBody>
                    <a:bodyPr/>
                    <a:lstStyle/>
                    <a:p>
                      <a:endParaRPr lang="en-US" sz="1800" dirty="0"/>
                    </a:p>
                  </a:txBody>
                  <a:tcPr>
                    <a:solidFill>
                      <a:srgbClr val="FFFF00"/>
                    </a:solidFill>
                  </a:tcPr>
                </a:tc>
                <a:extLst>
                  <a:ext uri="{0D108BD9-81ED-4DB2-BD59-A6C34878D82A}">
                    <a16:rowId xmlns:a16="http://schemas.microsoft.com/office/drawing/2014/main" val="10001"/>
                  </a:ext>
                </a:extLst>
              </a:tr>
              <a:tr h="539607">
                <a:tc>
                  <a:txBody>
                    <a:bodyPr/>
                    <a:lstStyle/>
                    <a:p>
                      <a:r>
                        <a:rPr lang="en-US" sz="1400" dirty="0"/>
                        <a:t>Publication of Opportunities</a:t>
                      </a:r>
                    </a:p>
                  </a:txBody>
                  <a:tcPr/>
                </a:tc>
                <a:tc>
                  <a:txBody>
                    <a:bodyPr/>
                    <a:lstStyle/>
                    <a:p>
                      <a:endParaRPr lang="en-US" sz="1800" dirty="0"/>
                    </a:p>
                  </a:txBody>
                  <a:tcPr>
                    <a:solidFill>
                      <a:srgbClr val="00B050"/>
                    </a:solidFill>
                  </a:tcPr>
                </a:tc>
                <a:tc>
                  <a:txBody>
                    <a:bodyPr/>
                    <a:lstStyle/>
                    <a:p>
                      <a:endParaRPr lang="en-US" sz="1800" dirty="0"/>
                    </a:p>
                  </a:txBody>
                  <a:tcPr>
                    <a:solidFill>
                      <a:srgbClr val="00B050"/>
                    </a:solidFill>
                  </a:tcPr>
                </a:tc>
                <a:tc>
                  <a:txBody>
                    <a:bodyPr/>
                    <a:lstStyle/>
                    <a:p>
                      <a:endParaRPr lang="en-US" sz="1800" dirty="0"/>
                    </a:p>
                  </a:txBody>
                  <a:tcPr>
                    <a:solidFill>
                      <a:srgbClr val="00B050"/>
                    </a:solidFill>
                  </a:tcPr>
                </a:tc>
                <a:tc>
                  <a:txBody>
                    <a:bodyPr/>
                    <a:lstStyle/>
                    <a:p>
                      <a:endParaRPr lang="en-US" sz="1800" dirty="0"/>
                    </a:p>
                  </a:txBody>
                  <a:tcPr>
                    <a:solidFill>
                      <a:srgbClr val="00B050"/>
                    </a:solidFill>
                  </a:tcPr>
                </a:tc>
                <a:tc>
                  <a:txBody>
                    <a:bodyPr/>
                    <a:lstStyle/>
                    <a:p>
                      <a:endParaRPr lang="en-US" sz="1800" dirty="0"/>
                    </a:p>
                  </a:txBody>
                  <a:tcPr>
                    <a:solidFill>
                      <a:srgbClr val="00B050"/>
                    </a:solidFill>
                  </a:tcPr>
                </a:tc>
                <a:extLst>
                  <a:ext uri="{0D108BD9-81ED-4DB2-BD59-A6C34878D82A}">
                    <a16:rowId xmlns:a16="http://schemas.microsoft.com/office/drawing/2014/main" val="10002"/>
                  </a:ext>
                </a:extLst>
              </a:tr>
              <a:tr h="659271">
                <a:tc>
                  <a:txBody>
                    <a:bodyPr/>
                    <a:lstStyle/>
                    <a:p>
                      <a:r>
                        <a:rPr lang="en-US" sz="1400" dirty="0"/>
                        <a:t>Electronic Auctions</a:t>
                      </a:r>
                    </a:p>
                  </a:txBody>
                  <a:tcPr/>
                </a:tc>
                <a:tc>
                  <a:txBody>
                    <a:bodyPr/>
                    <a:lstStyle/>
                    <a:p>
                      <a:endParaRPr lang="en-US" sz="1800" dirty="0"/>
                    </a:p>
                  </a:txBody>
                  <a:tcPr>
                    <a:solidFill>
                      <a:srgbClr val="FF0000"/>
                    </a:solidFill>
                  </a:tcPr>
                </a:tc>
                <a:tc>
                  <a:txBody>
                    <a:bodyPr/>
                    <a:lstStyle/>
                    <a:p>
                      <a:endParaRPr lang="en-US" sz="1800" dirty="0"/>
                    </a:p>
                  </a:txBody>
                  <a:tcPr>
                    <a:solidFill>
                      <a:srgbClr val="00B050"/>
                    </a:solidFill>
                  </a:tcPr>
                </a:tc>
                <a:tc>
                  <a:txBody>
                    <a:bodyPr/>
                    <a:lstStyle/>
                    <a:p>
                      <a:endParaRPr lang="en-US" sz="1800" dirty="0"/>
                    </a:p>
                  </a:txBody>
                  <a:tcPr>
                    <a:solidFill>
                      <a:srgbClr val="92D050"/>
                    </a:solidFill>
                  </a:tcPr>
                </a:tc>
                <a:tc>
                  <a:txBody>
                    <a:bodyPr/>
                    <a:lstStyle/>
                    <a:p>
                      <a:endParaRPr lang="en-US" sz="1800" dirty="0"/>
                    </a:p>
                  </a:txBody>
                  <a:tcPr>
                    <a:solidFill>
                      <a:srgbClr val="00B050"/>
                    </a:solidFill>
                  </a:tcPr>
                </a:tc>
                <a:tc>
                  <a:txBody>
                    <a:bodyPr/>
                    <a:lstStyle/>
                    <a:p>
                      <a:endParaRPr lang="en-US" sz="1800" dirty="0"/>
                    </a:p>
                  </a:txBody>
                  <a:tcPr>
                    <a:solidFill>
                      <a:srgbClr val="FF0000"/>
                    </a:solidFill>
                  </a:tcPr>
                </a:tc>
                <a:extLst>
                  <a:ext uri="{0D108BD9-81ED-4DB2-BD59-A6C34878D82A}">
                    <a16:rowId xmlns:a16="http://schemas.microsoft.com/office/drawing/2014/main" val="10003"/>
                  </a:ext>
                </a:extLst>
              </a:tr>
              <a:tr h="387151">
                <a:tc>
                  <a:txBody>
                    <a:bodyPr/>
                    <a:lstStyle/>
                    <a:p>
                      <a:r>
                        <a:rPr lang="en-US" sz="1400" dirty="0"/>
                        <a:t>Open</a:t>
                      </a:r>
                      <a:r>
                        <a:rPr lang="en-US" sz="1400" baseline="0" dirty="0"/>
                        <a:t> Procedure</a:t>
                      </a:r>
                      <a:endParaRPr lang="en-US" sz="1400" dirty="0"/>
                    </a:p>
                  </a:txBody>
                  <a:tcPr/>
                </a:tc>
                <a:tc>
                  <a:txBody>
                    <a:bodyPr/>
                    <a:lstStyle/>
                    <a:p>
                      <a:endParaRPr lang="en-US" sz="1800" dirty="0"/>
                    </a:p>
                  </a:txBody>
                  <a:tcPr>
                    <a:solidFill>
                      <a:srgbClr val="00B050"/>
                    </a:solidFill>
                  </a:tcPr>
                </a:tc>
                <a:tc>
                  <a:txBody>
                    <a:bodyPr/>
                    <a:lstStyle/>
                    <a:p>
                      <a:endParaRPr lang="en-US" sz="1800" dirty="0"/>
                    </a:p>
                  </a:txBody>
                  <a:tcPr>
                    <a:solidFill>
                      <a:srgbClr val="00B050"/>
                    </a:solidFill>
                  </a:tcPr>
                </a:tc>
                <a:tc>
                  <a:txBody>
                    <a:bodyPr/>
                    <a:lstStyle/>
                    <a:p>
                      <a:endParaRPr lang="en-US" sz="1800" dirty="0"/>
                    </a:p>
                  </a:txBody>
                  <a:tcPr>
                    <a:solidFill>
                      <a:srgbClr val="00B050"/>
                    </a:solidFill>
                  </a:tcPr>
                </a:tc>
                <a:tc>
                  <a:txBody>
                    <a:bodyPr/>
                    <a:lstStyle/>
                    <a:p>
                      <a:endParaRPr lang="en-US" sz="1800" dirty="0"/>
                    </a:p>
                  </a:txBody>
                  <a:tcPr>
                    <a:solidFill>
                      <a:srgbClr val="00B050"/>
                    </a:solidFill>
                  </a:tcPr>
                </a:tc>
                <a:tc>
                  <a:txBody>
                    <a:bodyPr/>
                    <a:lstStyle/>
                    <a:p>
                      <a:endParaRPr lang="en-US" sz="1800" dirty="0"/>
                    </a:p>
                  </a:txBody>
                  <a:tcPr>
                    <a:solidFill>
                      <a:srgbClr val="00B050"/>
                    </a:solidFill>
                  </a:tcPr>
                </a:tc>
                <a:extLst>
                  <a:ext uri="{0D108BD9-81ED-4DB2-BD59-A6C34878D82A}">
                    <a16:rowId xmlns:a16="http://schemas.microsoft.com/office/drawing/2014/main" val="10004"/>
                  </a:ext>
                </a:extLst>
              </a:tr>
              <a:tr h="524189">
                <a:tc>
                  <a:txBody>
                    <a:bodyPr/>
                    <a:lstStyle/>
                    <a:p>
                      <a:r>
                        <a:rPr lang="en-US" sz="1400" dirty="0"/>
                        <a:t>Competitive Dialogue</a:t>
                      </a:r>
                    </a:p>
                  </a:txBody>
                  <a:tcPr/>
                </a:tc>
                <a:tc>
                  <a:txBody>
                    <a:bodyPr/>
                    <a:lstStyle/>
                    <a:p>
                      <a:endParaRPr lang="en-US" sz="1800" dirty="0"/>
                    </a:p>
                  </a:txBody>
                  <a:tcPr>
                    <a:solidFill>
                      <a:srgbClr val="00B050"/>
                    </a:solidFill>
                  </a:tcPr>
                </a:tc>
                <a:tc>
                  <a:txBody>
                    <a:bodyPr/>
                    <a:lstStyle/>
                    <a:p>
                      <a:endParaRPr lang="en-US" sz="1800" dirty="0"/>
                    </a:p>
                  </a:txBody>
                  <a:tcPr>
                    <a:solidFill>
                      <a:srgbClr val="00B050"/>
                    </a:solidFill>
                  </a:tcPr>
                </a:tc>
                <a:tc>
                  <a:txBody>
                    <a:bodyPr/>
                    <a:lstStyle/>
                    <a:p>
                      <a:endParaRPr lang="en-US" sz="1800" dirty="0"/>
                    </a:p>
                  </a:txBody>
                  <a:tcPr>
                    <a:solidFill>
                      <a:srgbClr val="92D050"/>
                    </a:solidFill>
                  </a:tcPr>
                </a:tc>
                <a:tc>
                  <a:txBody>
                    <a:bodyPr/>
                    <a:lstStyle/>
                    <a:p>
                      <a:endParaRPr lang="en-US" sz="1800" dirty="0"/>
                    </a:p>
                  </a:txBody>
                  <a:tcPr>
                    <a:solidFill>
                      <a:srgbClr val="FFFF00"/>
                    </a:solidFill>
                  </a:tcPr>
                </a:tc>
                <a:tc>
                  <a:txBody>
                    <a:bodyPr/>
                    <a:lstStyle/>
                    <a:p>
                      <a:endParaRPr lang="en-US" sz="1800" dirty="0"/>
                    </a:p>
                  </a:txBody>
                  <a:tcPr>
                    <a:solidFill>
                      <a:srgbClr val="00B050"/>
                    </a:solidFill>
                  </a:tcPr>
                </a:tc>
                <a:extLst>
                  <a:ext uri="{0D108BD9-81ED-4DB2-BD59-A6C34878D82A}">
                    <a16:rowId xmlns:a16="http://schemas.microsoft.com/office/drawing/2014/main" val="10005"/>
                  </a:ext>
                </a:extLst>
              </a:tr>
              <a:tr h="659271">
                <a:tc>
                  <a:txBody>
                    <a:bodyPr/>
                    <a:lstStyle/>
                    <a:p>
                      <a:r>
                        <a:rPr lang="en-US" sz="1400" dirty="0"/>
                        <a:t>Frameworks</a:t>
                      </a:r>
                    </a:p>
                  </a:txBody>
                  <a:tcPr/>
                </a:tc>
                <a:tc>
                  <a:txBody>
                    <a:bodyPr/>
                    <a:lstStyle/>
                    <a:p>
                      <a:endParaRPr lang="en-US" sz="1800" dirty="0"/>
                    </a:p>
                  </a:txBody>
                  <a:tcPr>
                    <a:solidFill>
                      <a:srgbClr val="00B050"/>
                    </a:solidFill>
                  </a:tcPr>
                </a:tc>
                <a:tc>
                  <a:txBody>
                    <a:bodyPr/>
                    <a:lstStyle/>
                    <a:p>
                      <a:endParaRPr lang="en-US" sz="1800" dirty="0"/>
                    </a:p>
                  </a:txBody>
                  <a:tcPr>
                    <a:solidFill>
                      <a:srgbClr val="00B050"/>
                    </a:solidFill>
                  </a:tcPr>
                </a:tc>
                <a:tc>
                  <a:txBody>
                    <a:bodyPr/>
                    <a:lstStyle/>
                    <a:p>
                      <a:endParaRPr lang="en-US" sz="1800" dirty="0"/>
                    </a:p>
                  </a:txBody>
                  <a:tcPr>
                    <a:solidFill>
                      <a:srgbClr val="00B050"/>
                    </a:solidFill>
                  </a:tcPr>
                </a:tc>
                <a:tc>
                  <a:txBody>
                    <a:bodyPr/>
                    <a:lstStyle/>
                    <a:p>
                      <a:endParaRPr lang="en-US" sz="1800" dirty="0"/>
                    </a:p>
                  </a:txBody>
                  <a:tcPr>
                    <a:solidFill>
                      <a:srgbClr val="FF0000"/>
                    </a:solidFill>
                  </a:tcPr>
                </a:tc>
                <a:tc>
                  <a:txBody>
                    <a:bodyPr/>
                    <a:lstStyle/>
                    <a:p>
                      <a:endParaRPr lang="en-US" sz="1800" dirty="0"/>
                    </a:p>
                  </a:txBody>
                  <a:tcPr>
                    <a:solidFill>
                      <a:srgbClr val="FF0000"/>
                    </a:solidFill>
                  </a:tcPr>
                </a:tc>
                <a:extLst>
                  <a:ext uri="{0D108BD9-81ED-4DB2-BD59-A6C34878D82A}">
                    <a16:rowId xmlns:a16="http://schemas.microsoft.com/office/drawing/2014/main" val="10006"/>
                  </a:ext>
                </a:extLst>
              </a:tr>
              <a:tr h="659271">
                <a:tc>
                  <a:txBody>
                    <a:bodyPr/>
                    <a:lstStyle/>
                    <a:p>
                      <a:r>
                        <a:rPr lang="en-US" sz="1400" dirty="0"/>
                        <a:t>Contract Award Notices</a:t>
                      </a:r>
                    </a:p>
                  </a:txBody>
                  <a:tcPr/>
                </a:tc>
                <a:tc>
                  <a:txBody>
                    <a:bodyPr/>
                    <a:lstStyle/>
                    <a:p>
                      <a:endParaRPr lang="en-US" sz="1800" dirty="0"/>
                    </a:p>
                  </a:txBody>
                  <a:tcPr>
                    <a:solidFill>
                      <a:srgbClr val="00B050"/>
                    </a:solidFill>
                  </a:tcPr>
                </a:tc>
                <a:tc>
                  <a:txBody>
                    <a:bodyPr/>
                    <a:lstStyle/>
                    <a:p>
                      <a:endParaRPr lang="en-US" sz="1800" dirty="0"/>
                    </a:p>
                  </a:txBody>
                  <a:tcPr>
                    <a:solidFill>
                      <a:srgbClr val="00B050"/>
                    </a:solidFill>
                  </a:tcPr>
                </a:tc>
                <a:tc>
                  <a:txBody>
                    <a:bodyPr/>
                    <a:lstStyle/>
                    <a:p>
                      <a:endParaRPr lang="en-US" sz="1800" dirty="0"/>
                    </a:p>
                  </a:txBody>
                  <a:tcPr>
                    <a:solidFill>
                      <a:srgbClr val="00B050"/>
                    </a:solidFill>
                  </a:tcPr>
                </a:tc>
                <a:tc>
                  <a:txBody>
                    <a:bodyPr/>
                    <a:lstStyle/>
                    <a:p>
                      <a:endParaRPr lang="en-US" sz="1800"/>
                    </a:p>
                  </a:txBody>
                  <a:tcPr>
                    <a:solidFill>
                      <a:srgbClr val="00B050"/>
                    </a:solidFill>
                  </a:tcPr>
                </a:tc>
                <a:tc>
                  <a:txBody>
                    <a:bodyPr/>
                    <a:lstStyle/>
                    <a:p>
                      <a:endParaRPr lang="en-US" sz="1800" dirty="0"/>
                    </a:p>
                  </a:txBody>
                  <a:tcPr>
                    <a:solidFill>
                      <a:srgbClr val="00B050"/>
                    </a:solidFill>
                  </a:tcPr>
                </a:tc>
                <a:extLst>
                  <a:ext uri="{0D108BD9-81ED-4DB2-BD59-A6C34878D82A}">
                    <a16:rowId xmlns:a16="http://schemas.microsoft.com/office/drawing/2014/main" val="10007"/>
                  </a:ext>
                </a:extLst>
              </a:tr>
              <a:tr h="387151">
                <a:tc>
                  <a:txBody>
                    <a:bodyPr/>
                    <a:lstStyle/>
                    <a:p>
                      <a:r>
                        <a:rPr lang="en-US" sz="1400" dirty="0"/>
                        <a:t>Bid Challenges</a:t>
                      </a:r>
                    </a:p>
                  </a:txBody>
                  <a:tcPr/>
                </a:tc>
                <a:tc>
                  <a:txBody>
                    <a:bodyPr/>
                    <a:lstStyle/>
                    <a:p>
                      <a:endParaRPr lang="en-US" sz="1800" dirty="0"/>
                    </a:p>
                  </a:txBody>
                  <a:tcPr>
                    <a:solidFill>
                      <a:srgbClr val="00B050"/>
                    </a:solidFill>
                  </a:tcPr>
                </a:tc>
                <a:tc>
                  <a:txBody>
                    <a:bodyPr/>
                    <a:lstStyle/>
                    <a:p>
                      <a:endParaRPr lang="en-US" sz="1800" dirty="0"/>
                    </a:p>
                  </a:txBody>
                  <a:tcPr>
                    <a:solidFill>
                      <a:srgbClr val="00B050"/>
                    </a:solidFill>
                  </a:tcPr>
                </a:tc>
                <a:tc>
                  <a:txBody>
                    <a:bodyPr/>
                    <a:lstStyle/>
                    <a:p>
                      <a:endParaRPr lang="en-US" sz="1800" dirty="0"/>
                    </a:p>
                  </a:txBody>
                  <a:tcPr>
                    <a:solidFill>
                      <a:srgbClr val="FFFF00"/>
                    </a:solidFill>
                  </a:tcPr>
                </a:tc>
                <a:tc>
                  <a:txBody>
                    <a:bodyPr/>
                    <a:lstStyle/>
                    <a:p>
                      <a:endParaRPr lang="en-US" sz="1800" dirty="0"/>
                    </a:p>
                  </a:txBody>
                  <a:tcPr>
                    <a:solidFill>
                      <a:srgbClr val="00B050"/>
                    </a:solidFill>
                  </a:tcPr>
                </a:tc>
                <a:tc>
                  <a:txBody>
                    <a:bodyPr/>
                    <a:lstStyle/>
                    <a:p>
                      <a:endParaRPr lang="en-US" sz="1800" dirty="0"/>
                    </a:p>
                  </a:txBody>
                  <a:tcPr>
                    <a:solidFill>
                      <a:srgbClr val="00B050"/>
                    </a:solidFill>
                  </a:tcPr>
                </a:tc>
                <a:extLst>
                  <a:ext uri="{0D108BD9-81ED-4DB2-BD59-A6C34878D82A}">
                    <a16:rowId xmlns:a16="http://schemas.microsoft.com/office/drawing/2014/main" val="10008"/>
                  </a:ext>
                </a:extLst>
              </a:tr>
              <a:tr h="524189">
                <a:tc>
                  <a:txBody>
                    <a:bodyPr/>
                    <a:lstStyle/>
                    <a:p>
                      <a:r>
                        <a:rPr lang="en-US" sz="1400" dirty="0"/>
                        <a:t>Exclusion</a:t>
                      </a:r>
                    </a:p>
                  </a:txBody>
                  <a:tcPr/>
                </a:tc>
                <a:tc>
                  <a:txBody>
                    <a:bodyPr/>
                    <a:lstStyle/>
                    <a:p>
                      <a:endParaRPr lang="en-US" sz="1800" dirty="0"/>
                    </a:p>
                  </a:txBody>
                  <a:tcPr>
                    <a:solidFill>
                      <a:srgbClr val="00B050"/>
                    </a:solidFill>
                  </a:tcPr>
                </a:tc>
                <a:tc>
                  <a:txBody>
                    <a:bodyPr/>
                    <a:lstStyle/>
                    <a:p>
                      <a:endParaRPr lang="en-US" sz="1800" dirty="0"/>
                    </a:p>
                  </a:txBody>
                  <a:tcPr>
                    <a:solidFill>
                      <a:srgbClr val="FFFF00"/>
                    </a:solidFill>
                  </a:tcPr>
                </a:tc>
                <a:tc>
                  <a:txBody>
                    <a:bodyPr/>
                    <a:lstStyle/>
                    <a:p>
                      <a:endParaRPr lang="en-US" sz="1800" dirty="0"/>
                    </a:p>
                  </a:txBody>
                  <a:tcPr>
                    <a:solidFill>
                      <a:srgbClr val="00B050"/>
                    </a:solidFill>
                  </a:tcPr>
                </a:tc>
                <a:tc>
                  <a:txBody>
                    <a:bodyPr/>
                    <a:lstStyle/>
                    <a:p>
                      <a:endParaRPr lang="en-US" sz="1800" dirty="0"/>
                    </a:p>
                  </a:txBody>
                  <a:tcPr>
                    <a:solidFill>
                      <a:srgbClr val="FF0000"/>
                    </a:solidFill>
                  </a:tcPr>
                </a:tc>
                <a:tc>
                  <a:txBody>
                    <a:bodyPr/>
                    <a:lstStyle/>
                    <a:p>
                      <a:endParaRPr lang="en-US" sz="1800" dirty="0"/>
                    </a:p>
                  </a:txBody>
                  <a:tcPr>
                    <a:solidFill>
                      <a:srgbClr val="00B050"/>
                    </a:solidFill>
                  </a:tcPr>
                </a:tc>
                <a:extLst>
                  <a:ext uri="{0D108BD9-81ED-4DB2-BD59-A6C34878D82A}">
                    <a16:rowId xmlns:a16="http://schemas.microsoft.com/office/drawing/2014/main" val="10009"/>
                  </a:ext>
                </a:extLst>
              </a:tr>
              <a:tr h="659271">
                <a:tc>
                  <a:txBody>
                    <a:bodyPr/>
                    <a:lstStyle/>
                    <a:p>
                      <a:r>
                        <a:rPr lang="en-US" sz="1400" dirty="0"/>
                        <a:t>Contract Administration</a:t>
                      </a:r>
                    </a:p>
                  </a:txBody>
                  <a:tcPr/>
                </a:tc>
                <a:tc>
                  <a:txBody>
                    <a:bodyPr/>
                    <a:lstStyle/>
                    <a:p>
                      <a:endParaRPr lang="en-US" sz="1800" dirty="0"/>
                    </a:p>
                  </a:txBody>
                  <a:tcPr>
                    <a:solidFill>
                      <a:srgbClr val="00B050"/>
                    </a:solidFill>
                  </a:tcPr>
                </a:tc>
                <a:tc>
                  <a:txBody>
                    <a:bodyPr/>
                    <a:lstStyle/>
                    <a:p>
                      <a:endParaRPr lang="en-US" sz="1800" dirty="0"/>
                    </a:p>
                  </a:txBody>
                  <a:tcPr>
                    <a:solidFill>
                      <a:srgbClr val="FF0000"/>
                    </a:solidFill>
                  </a:tcPr>
                </a:tc>
                <a:tc>
                  <a:txBody>
                    <a:bodyPr/>
                    <a:lstStyle/>
                    <a:p>
                      <a:endParaRPr lang="en-US" sz="1800" dirty="0"/>
                    </a:p>
                  </a:txBody>
                  <a:tcPr>
                    <a:solidFill>
                      <a:srgbClr val="FF0000"/>
                    </a:solidFill>
                  </a:tcPr>
                </a:tc>
                <a:tc>
                  <a:txBody>
                    <a:bodyPr/>
                    <a:lstStyle/>
                    <a:p>
                      <a:endParaRPr lang="en-US" sz="1800" dirty="0"/>
                    </a:p>
                  </a:txBody>
                  <a:tcPr>
                    <a:solidFill>
                      <a:srgbClr val="FF0000"/>
                    </a:solidFill>
                  </a:tcPr>
                </a:tc>
                <a:tc>
                  <a:txBody>
                    <a:bodyPr/>
                    <a:lstStyle/>
                    <a:p>
                      <a:endParaRPr lang="en-US" sz="1800" dirty="0"/>
                    </a:p>
                  </a:txBody>
                  <a:tcPr>
                    <a:solidFill>
                      <a:srgbClr val="FFFF00"/>
                    </a:solidFill>
                  </a:tcPr>
                </a:tc>
                <a:extLst>
                  <a:ext uri="{0D108BD9-81ED-4DB2-BD59-A6C34878D82A}">
                    <a16:rowId xmlns:a16="http://schemas.microsoft.com/office/drawing/2014/main" val="10010"/>
                  </a:ext>
                </a:extLst>
              </a:tr>
            </a:tbl>
          </a:graphicData>
        </a:graphic>
      </p:graphicFrame>
      <p:sp>
        <p:nvSpPr>
          <p:cNvPr id="102488" name="TextBox 1">
            <a:extLst>
              <a:ext uri="{FF2B5EF4-FFF2-40B4-BE49-F238E27FC236}">
                <a16:creationId xmlns:a16="http://schemas.microsoft.com/office/drawing/2014/main" id="{AA764646-53A2-4A71-80F0-59E070AA5F4A}"/>
              </a:ext>
            </a:extLst>
          </p:cNvPr>
          <p:cNvSpPr txBox="1">
            <a:spLocks noChangeArrowheads="1"/>
          </p:cNvSpPr>
          <p:nvPr/>
        </p:nvSpPr>
        <p:spPr bwMode="auto">
          <a:xfrm>
            <a:off x="3189288" y="685800"/>
            <a:ext cx="3886200" cy="769938"/>
          </a:xfrm>
          <a:prstGeom prst="rect">
            <a:avLst/>
          </a:prstGeom>
          <a:solidFill>
            <a:srgbClr val="7030A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algn="ctr" fontAlgn="base">
              <a:spcBef>
                <a:spcPct val="0"/>
              </a:spcBef>
              <a:spcAft>
                <a:spcPct val="0"/>
              </a:spcAft>
              <a:buClrTx/>
              <a:buSzTx/>
              <a:buNone/>
            </a:pPr>
            <a:r>
              <a:rPr lang="en-US" altLang="en-US" sz="4400" b="1" dirty="0">
                <a:solidFill>
                  <a:prstClr val="white"/>
                </a:solidFill>
                <a:latin typeface="Calibri" panose="020F0502020204030204" pitchFamily="34" charset="0"/>
                <a:cs typeface="Arial" panose="020B0604020202020204" pitchFamily="34" charset="0"/>
              </a:rPr>
              <a:t>CONVERGENCE</a:t>
            </a:r>
            <a:endParaRPr lang="en-US" altLang="en-US" sz="1800" dirty="0">
              <a:solidFill>
                <a:prstClr val="white"/>
              </a:solidFill>
              <a:latin typeface="Calibri" panose="020F0502020204030204" pitchFamily="34" charset="0"/>
              <a:cs typeface="Arial" panose="020B0604020202020204" pitchFamily="34" charset="0"/>
            </a:endParaRPr>
          </a:p>
        </p:txBody>
      </p:sp>
      <p:sp>
        <p:nvSpPr>
          <p:cNvPr id="2" name="Slide Number Placeholder 1">
            <a:extLst>
              <a:ext uri="{FF2B5EF4-FFF2-40B4-BE49-F238E27FC236}">
                <a16:creationId xmlns:a16="http://schemas.microsoft.com/office/drawing/2014/main" id="{9B0A95F3-71FD-4F7D-A145-017A7C6A303B}"/>
              </a:ext>
            </a:extLst>
          </p:cNvPr>
          <p:cNvSpPr>
            <a:spLocks noGrp="1"/>
          </p:cNvSpPr>
          <p:nvPr>
            <p:ph type="sldNum" sz="quarter" idx="12"/>
          </p:nvPr>
        </p:nvSpPr>
        <p:spPr/>
        <p:txBody>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fontAlgn="base">
              <a:spcBef>
                <a:spcPct val="0"/>
              </a:spcBef>
              <a:spcAft>
                <a:spcPct val="0"/>
              </a:spcAft>
            </a:pPr>
            <a:fld id="{D2C99366-A806-4721-850F-F5C3AB3BB10A}" type="slidenum">
              <a:rPr lang="en-US" altLang="en-US">
                <a:solidFill>
                  <a:srgbClr val="FFFFFF"/>
                </a:solidFill>
                <a:latin typeface="Franklin Gothic Book" panose="020B0503020102020204" pitchFamily="34" charset="0"/>
                <a:cs typeface="Arial" panose="020B0604020202020204" pitchFamily="34" charset="0"/>
              </a:rPr>
              <a:pPr fontAlgn="base">
                <a:spcBef>
                  <a:spcPct val="0"/>
                </a:spcBef>
                <a:spcAft>
                  <a:spcPct val="0"/>
                </a:spcAft>
              </a:pPr>
              <a:t>10</a:t>
            </a:fld>
            <a:endParaRPr lang="en-US" altLang="en-US">
              <a:solidFill>
                <a:srgbClr val="FFFFFF"/>
              </a:solidFill>
              <a:latin typeface="Franklin Gothic Book" panose="020B0503020102020204" pitchFamily="34" charset="0"/>
              <a:cs typeface="Arial" panose="020B0604020202020204" pitchFamily="34" charset="0"/>
            </a:endParaRPr>
          </a:p>
        </p:txBody>
      </p:sp>
    </p:spTree>
  </p:cSld>
  <p:clrMapOvr>
    <a:masterClrMapping/>
  </p:clrMapOvr>
  <p:transition spd="slow"/>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6020" name="Rectangle 4">
            <a:extLst>
              <a:ext uri="{FF2B5EF4-FFF2-40B4-BE49-F238E27FC236}">
                <a16:creationId xmlns:a16="http://schemas.microsoft.com/office/drawing/2014/main" id="{917ADF04-BA2C-4542-B964-0C6C578F4FA5}"/>
              </a:ext>
            </a:extLst>
          </p:cNvPr>
          <p:cNvSpPr>
            <a:spLocks noGrp="1" noRot="1" noChangeArrowheads="1"/>
          </p:cNvSpPr>
          <p:nvPr>
            <p:ph type="title"/>
          </p:nvPr>
        </p:nvSpPr>
        <p:spPr/>
        <p:txBody>
          <a:bodyPr/>
          <a:lstStyle/>
          <a:p>
            <a:pPr eaLnBrk="1" hangingPunct="1">
              <a:defRPr/>
            </a:pPr>
            <a:r>
              <a:rPr lang="en-US"/>
              <a:t>What Is a Reverse Auction?</a:t>
            </a:r>
          </a:p>
        </p:txBody>
      </p:sp>
      <p:pic>
        <p:nvPicPr>
          <p:cNvPr id="25603" name="Picture 6" descr="i">
            <a:extLst>
              <a:ext uri="{FF2B5EF4-FFF2-40B4-BE49-F238E27FC236}">
                <a16:creationId xmlns:a16="http://schemas.microsoft.com/office/drawing/2014/main" id="{F74573CB-58C1-406D-88A7-68743BD61D3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05000" y="1447802"/>
            <a:ext cx="5410200" cy="4803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random/>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le 1">
            <a:extLst>
              <a:ext uri="{FF2B5EF4-FFF2-40B4-BE49-F238E27FC236}">
                <a16:creationId xmlns:a16="http://schemas.microsoft.com/office/drawing/2014/main" id="{AC76C8F5-6254-4D74-B55E-392B3706B86A}"/>
              </a:ext>
            </a:extLst>
          </p:cNvPr>
          <p:cNvSpPr>
            <a:spLocks noGrp="1"/>
          </p:cNvSpPr>
          <p:nvPr>
            <p:ph type="title"/>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t"/>
          <a:lstStyle/>
          <a:p>
            <a:pPr eaLnBrk="1" hangingPunct="1">
              <a:defRPr/>
            </a:pPr>
            <a:endParaRPr lang="en-US" altLang="en-US"/>
          </a:p>
        </p:txBody>
      </p:sp>
      <p:pic>
        <p:nvPicPr>
          <p:cNvPr id="26627" name="Picture 2" descr="https://corporateshopaholic.files.wordpress.com/2010/12/reverse-auction1.jpg">
            <a:extLst>
              <a:ext uri="{FF2B5EF4-FFF2-40B4-BE49-F238E27FC236}">
                <a16:creationId xmlns:a16="http://schemas.microsoft.com/office/drawing/2014/main" id="{7772092D-488D-43DB-A2AF-75FDAEB5335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 y="0"/>
            <a:ext cx="919321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random/>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D4C9BBE-E6ED-4E0B-906D-E58DCB5AF6DE}"/>
              </a:ext>
            </a:extLst>
          </p:cNvPr>
          <p:cNvSpPr>
            <a:spLocks noGrp="1"/>
          </p:cNvSpPr>
          <p:nvPr>
            <p:ph type="title"/>
          </p:nvPr>
        </p:nvSpPr>
        <p:spPr>
          <a:xfrm>
            <a:off x="457200" y="228600"/>
            <a:ext cx="7924800" cy="1143000"/>
          </a:xfrm>
        </p:spPr>
        <p:txBody>
          <a:bodyPr/>
          <a:lstStyle/>
          <a:p>
            <a:pPr algn="l" eaLnBrk="1" hangingPunct="1">
              <a:defRPr/>
            </a:pPr>
            <a:r>
              <a:rPr lang="en-US" sz="2800" dirty="0"/>
              <a:t>Case study:  Georgia – </a:t>
            </a:r>
            <a:br>
              <a:rPr lang="en-US" sz="2800" dirty="0"/>
            </a:br>
            <a:r>
              <a:rPr lang="en-US" sz="2800" dirty="0"/>
              <a:t>Using E-Procurement To Combat Corruption</a:t>
            </a:r>
          </a:p>
        </p:txBody>
      </p:sp>
      <p:sp>
        <p:nvSpPr>
          <p:cNvPr id="26627" name="Content Placeholder 3">
            <a:extLst>
              <a:ext uri="{FF2B5EF4-FFF2-40B4-BE49-F238E27FC236}">
                <a16:creationId xmlns:a16="http://schemas.microsoft.com/office/drawing/2014/main" id="{BA51CC92-3EA3-4F98-BCE2-B3D2364E4811}"/>
              </a:ext>
            </a:extLst>
          </p:cNvPr>
          <p:cNvSpPr>
            <a:spLocks noGrp="1"/>
          </p:cNvSpPr>
          <p:nvPr>
            <p:ph idx="1"/>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defRPr/>
            </a:pPr>
            <a:r>
              <a:rPr lang="en-US" altLang="en-US" sz="2800" b="1" dirty="0"/>
              <a:t>Link to presentation on Georgian e-procurement system:</a:t>
            </a:r>
          </a:p>
          <a:p>
            <a:pPr lvl="1" eaLnBrk="1" hangingPunct="1">
              <a:defRPr/>
            </a:pPr>
            <a:r>
              <a:rPr lang="en-US" altLang="en-US" sz="2400" b="1" dirty="0">
                <a:solidFill>
                  <a:srgbClr val="000000"/>
                </a:solidFill>
                <a:hlinkClick r:id="rId2"/>
              </a:rPr>
              <a:t>https://prezi.com/1yugudjld6rw/e-procurement-reform-in-georgia-everyone-sees-everything/</a:t>
            </a:r>
            <a:endParaRPr lang="en-US" altLang="en-US" sz="2400" b="1" dirty="0">
              <a:solidFill>
                <a:srgbClr val="000000"/>
              </a:solidFill>
            </a:endParaRPr>
          </a:p>
          <a:p>
            <a:pPr eaLnBrk="1" hangingPunct="1">
              <a:defRPr/>
            </a:pPr>
            <a:r>
              <a:rPr lang="en-US" altLang="en-US" sz="2800" b="1" dirty="0"/>
              <a:t>Transparency International – Georgia report on e-procurement system:</a:t>
            </a:r>
          </a:p>
          <a:p>
            <a:pPr lvl="1" eaLnBrk="1" hangingPunct="1">
              <a:defRPr/>
            </a:pPr>
            <a:r>
              <a:rPr lang="en-US" altLang="en-US" sz="2400" b="1" dirty="0">
                <a:solidFill>
                  <a:srgbClr val="000000"/>
                </a:solidFill>
                <a:hlinkClick r:id="rId3"/>
              </a:rPr>
              <a:t>http://www.transparency.ge/en/node/3117</a:t>
            </a:r>
            <a:endParaRPr lang="en-US" altLang="en-US" sz="2400" b="1" dirty="0">
              <a:solidFill>
                <a:srgbClr val="000000"/>
              </a:solidFill>
            </a:endParaRPr>
          </a:p>
          <a:p>
            <a:pPr eaLnBrk="1" hangingPunct="1">
              <a:defRPr/>
            </a:pPr>
            <a:endParaRPr lang="en-US" altLang="en-US" dirty="0"/>
          </a:p>
        </p:txBody>
      </p:sp>
      <p:pic>
        <p:nvPicPr>
          <p:cNvPr id="27652" name="Picture 5" descr="Flag of Georgia">
            <a:extLst>
              <a:ext uri="{FF2B5EF4-FFF2-40B4-BE49-F238E27FC236}">
                <a16:creationId xmlns:a16="http://schemas.microsoft.com/office/drawing/2014/main" id="{EB6D3085-E268-45F9-9C1B-8B371576414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99215" y="5029200"/>
            <a:ext cx="2744787" cy="182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653" name="Picture 2">
            <a:extLst>
              <a:ext uri="{FF2B5EF4-FFF2-40B4-BE49-F238E27FC236}">
                <a16:creationId xmlns:a16="http://schemas.microsoft.com/office/drawing/2014/main" id="{4CE6C6D6-0F9B-4EB3-9E38-E10604AF243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14400" y="4800602"/>
            <a:ext cx="4191000" cy="138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random/>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1906DB-F85D-4A9B-8D44-D8739C63B88A}"/>
              </a:ext>
            </a:extLst>
          </p:cNvPr>
          <p:cNvSpPr>
            <a:spLocks noGrp="1"/>
          </p:cNvSpPr>
          <p:nvPr>
            <p:ph type="title"/>
          </p:nvPr>
        </p:nvSpPr>
        <p:spPr/>
        <p:txBody>
          <a:bodyPr/>
          <a:lstStyle/>
          <a:p>
            <a:pPr eaLnBrk="1" hangingPunct="1">
              <a:defRPr/>
            </a:pPr>
            <a:r>
              <a:rPr lang="en-US" dirty="0"/>
              <a:t>Georgia E-Procurement</a:t>
            </a:r>
          </a:p>
        </p:txBody>
      </p:sp>
      <p:sp>
        <p:nvSpPr>
          <p:cNvPr id="3" name="Content Placeholder 2">
            <a:extLst>
              <a:ext uri="{FF2B5EF4-FFF2-40B4-BE49-F238E27FC236}">
                <a16:creationId xmlns:a16="http://schemas.microsoft.com/office/drawing/2014/main" id="{038AA457-8F67-4F66-9D74-12CCA9787E28}"/>
              </a:ext>
            </a:extLst>
          </p:cNvPr>
          <p:cNvSpPr>
            <a:spLocks noGrp="1"/>
          </p:cNvSpPr>
          <p:nvPr>
            <p:ph idx="1"/>
          </p:nvPr>
        </p:nvSpPr>
        <p:spPr/>
        <p:txBody>
          <a:bodyPr/>
          <a:lstStyle/>
          <a:p>
            <a:pPr eaLnBrk="1" hangingPunct="1">
              <a:defRPr/>
            </a:pPr>
            <a:endParaRPr lang="en-US"/>
          </a:p>
        </p:txBody>
      </p:sp>
      <p:pic>
        <p:nvPicPr>
          <p:cNvPr id="28676" name="Picture 2">
            <a:extLst>
              <a:ext uri="{FF2B5EF4-FFF2-40B4-BE49-F238E27FC236}">
                <a16:creationId xmlns:a16="http://schemas.microsoft.com/office/drawing/2014/main" id="{53AE6B6D-E2E5-4CAF-864F-1B67E96F6E7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 y="1371600"/>
            <a:ext cx="8963025" cy="5486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transition>
    <p:random/>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B66036-D2DB-4A5B-A7E7-92C44BC3C2C9}"/>
              </a:ext>
            </a:extLst>
          </p:cNvPr>
          <p:cNvSpPr>
            <a:spLocks noGrp="1"/>
          </p:cNvSpPr>
          <p:nvPr>
            <p:ph type="title"/>
          </p:nvPr>
        </p:nvSpPr>
        <p:spPr>
          <a:xfrm>
            <a:off x="419100" y="152400"/>
            <a:ext cx="8229600" cy="1143000"/>
          </a:xfrm>
        </p:spPr>
        <p:txBody>
          <a:bodyPr/>
          <a:lstStyle/>
          <a:p>
            <a:pPr eaLnBrk="1" hangingPunct="1">
              <a:defRPr/>
            </a:pPr>
            <a:r>
              <a:rPr lang="en-US" dirty="0"/>
              <a:t>Sample Georgian Auction</a:t>
            </a:r>
          </a:p>
        </p:txBody>
      </p:sp>
      <p:sp>
        <p:nvSpPr>
          <p:cNvPr id="3" name="Content Placeholder 2">
            <a:extLst>
              <a:ext uri="{FF2B5EF4-FFF2-40B4-BE49-F238E27FC236}">
                <a16:creationId xmlns:a16="http://schemas.microsoft.com/office/drawing/2014/main" id="{C0EB496C-5CC6-45B3-9F86-88C49C0B6202}"/>
              </a:ext>
            </a:extLst>
          </p:cNvPr>
          <p:cNvSpPr>
            <a:spLocks noGrp="1"/>
          </p:cNvSpPr>
          <p:nvPr>
            <p:ph idx="1"/>
          </p:nvPr>
        </p:nvSpPr>
        <p:spPr/>
        <p:txBody>
          <a:bodyPr/>
          <a:lstStyle/>
          <a:p>
            <a:pPr eaLnBrk="1" hangingPunct="1">
              <a:defRPr/>
            </a:pPr>
            <a:endParaRPr lang="en-US"/>
          </a:p>
        </p:txBody>
      </p:sp>
      <p:pic>
        <p:nvPicPr>
          <p:cNvPr id="29700" name="Picture 2">
            <a:extLst>
              <a:ext uri="{FF2B5EF4-FFF2-40B4-BE49-F238E27FC236}">
                <a16:creationId xmlns:a16="http://schemas.microsoft.com/office/drawing/2014/main" id="{15995E37-AF22-4BFF-84BA-A1A271878E9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143000"/>
            <a:ext cx="9067800" cy="56784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transition>
    <p:random/>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3602" name="Rectangle 2">
            <a:extLst>
              <a:ext uri="{FF2B5EF4-FFF2-40B4-BE49-F238E27FC236}">
                <a16:creationId xmlns:a16="http://schemas.microsoft.com/office/drawing/2014/main" id="{6D1C6EE1-3619-4B82-8DAD-D5CA79D9A8FD}"/>
              </a:ext>
            </a:extLst>
          </p:cNvPr>
          <p:cNvSpPr>
            <a:spLocks noGrp="1" noRot="1" noChangeArrowheads="1"/>
          </p:cNvSpPr>
          <p:nvPr>
            <p:ph type="title"/>
          </p:nvPr>
        </p:nvSpPr>
        <p:spPr/>
        <p:txBody>
          <a:bodyPr/>
          <a:lstStyle/>
          <a:p>
            <a:pPr eaLnBrk="1" hangingPunct="1">
              <a:defRPr/>
            </a:pPr>
            <a:r>
              <a:rPr lang="en-US" sz="4000"/>
              <a:t>The U.S. Rule on Reverse Auctions</a:t>
            </a:r>
          </a:p>
        </p:txBody>
      </p:sp>
    </p:spTree>
  </p:cSld>
  <p:clrMapOvr>
    <a:masterClrMapping/>
  </p:clrMapOvr>
  <p:transition>
    <p:random/>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62" name="Rectangle 2">
            <a:extLst>
              <a:ext uri="{FF2B5EF4-FFF2-40B4-BE49-F238E27FC236}">
                <a16:creationId xmlns:a16="http://schemas.microsoft.com/office/drawing/2014/main" id="{726CAD7F-654D-4825-9E43-90E54AF58C75}"/>
              </a:ext>
            </a:extLst>
          </p:cNvPr>
          <p:cNvSpPr>
            <a:spLocks noGrp="1" noRot="1" noChangeArrowheads="1"/>
          </p:cNvSpPr>
          <p:nvPr>
            <p:ph type="title"/>
          </p:nvPr>
        </p:nvSpPr>
        <p:spPr/>
        <p:txBody>
          <a:bodyPr/>
          <a:lstStyle/>
          <a:p>
            <a:pPr eaLnBrk="1" hangingPunct="1">
              <a:defRPr/>
            </a:pPr>
            <a:r>
              <a:rPr lang="en-GB"/>
              <a:t>Which types of auction can be used? </a:t>
            </a:r>
            <a:endParaRPr lang="en-US"/>
          </a:p>
        </p:txBody>
      </p:sp>
      <p:sp>
        <p:nvSpPr>
          <p:cNvPr id="757763" name="Rectangle 3">
            <a:extLst>
              <a:ext uri="{FF2B5EF4-FFF2-40B4-BE49-F238E27FC236}">
                <a16:creationId xmlns:a16="http://schemas.microsoft.com/office/drawing/2014/main" id="{DA449D86-F3A7-4B91-A45F-577998133CC1}"/>
              </a:ext>
            </a:extLst>
          </p:cNvPr>
          <p:cNvSpPr>
            <a:spLocks noGrp="1" noChangeArrowheads="1"/>
          </p:cNvSpPr>
          <p:nvPr>
            <p:ph type="body" idx="1"/>
          </p:nvPr>
        </p:nvSpPr>
        <p:spPr/>
        <p:txBody>
          <a:bodyPr/>
          <a:lstStyle/>
          <a:p>
            <a:pPr eaLnBrk="1" hangingPunct="1">
              <a:defRPr/>
            </a:pPr>
            <a:r>
              <a:rPr lang="en-GB"/>
              <a:t>Type 1 – allowed; is the most common in UK</a:t>
            </a:r>
          </a:p>
          <a:p>
            <a:pPr lvl="1" eaLnBrk="1" hangingPunct="1">
              <a:defRPr/>
            </a:pPr>
            <a:r>
              <a:rPr lang="en-GB"/>
              <a:t>winning tender is chosen based solely on the auction phase (usually price only)</a:t>
            </a:r>
          </a:p>
          <a:p>
            <a:pPr lvl="1" eaLnBrk="1" hangingPunct="1">
              <a:defRPr/>
            </a:pPr>
            <a:r>
              <a:rPr lang="en-GB"/>
              <a:t> winner (usually lowest price) is apparent to participants during the auction process  </a:t>
            </a:r>
          </a:p>
          <a:p>
            <a:pPr eaLnBrk="1" hangingPunct="1">
              <a:defRPr/>
            </a:pPr>
            <a:endParaRPr lang="en-US"/>
          </a:p>
        </p:txBody>
      </p:sp>
      <p:sp>
        <p:nvSpPr>
          <p:cNvPr id="31748" name="Oval 4">
            <a:extLst>
              <a:ext uri="{FF2B5EF4-FFF2-40B4-BE49-F238E27FC236}">
                <a16:creationId xmlns:a16="http://schemas.microsoft.com/office/drawing/2014/main" id="{1F59BE17-D862-4051-A67D-4242205489DB}"/>
              </a:ext>
            </a:extLst>
          </p:cNvPr>
          <p:cNvSpPr>
            <a:spLocks noChangeArrowheads="1"/>
          </p:cNvSpPr>
          <p:nvPr/>
        </p:nvSpPr>
        <p:spPr bwMode="auto">
          <a:xfrm>
            <a:off x="381000" y="5105400"/>
            <a:ext cx="4343400" cy="1752600"/>
          </a:xfrm>
          <a:prstGeom prst="ellipse">
            <a:avLst/>
          </a:prstGeom>
          <a:solidFill>
            <a:schemeClr val="accent1"/>
          </a:solidFill>
          <a:ln w="9525">
            <a:solidFill>
              <a:schemeClr val="tx1"/>
            </a:solidFill>
            <a:round/>
            <a:headEnd/>
            <a:tailEnd/>
          </a:ln>
        </p:spPr>
        <p:txBody>
          <a:bodyPr wrap="none" anchor="ctr"/>
          <a:lstStyle>
            <a:lvl1pPr eaLnBrk="0" hangingPunct="0">
              <a:spcBef>
                <a:spcPct val="20000"/>
              </a:spcBef>
              <a:buClr>
                <a:schemeClr val="hlink"/>
              </a:buClr>
              <a:buSzPct val="70000"/>
              <a:buFont typeface="Wingdings" panose="05000000000000000000" pitchFamily="2" charset="2"/>
              <a:buChar char="n"/>
              <a:defRPr sz="3200">
                <a:solidFill>
                  <a:schemeClr val="tx1"/>
                </a:solidFill>
                <a:latin typeface="Garamond" panose="02020404030301010803" pitchFamily="18" charset="0"/>
              </a:defRPr>
            </a:lvl1pPr>
            <a:lvl2pPr marL="742950" indent="-285750" eaLnBrk="0" hangingPunct="0">
              <a:spcBef>
                <a:spcPct val="20000"/>
              </a:spcBef>
              <a:buClr>
                <a:schemeClr val="accent2"/>
              </a:buClr>
              <a:buSzPct val="70000"/>
              <a:buFont typeface="Wingdings" panose="05000000000000000000" pitchFamily="2" charset="2"/>
              <a:buChar char="n"/>
              <a:defRPr sz="2800">
                <a:solidFill>
                  <a:schemeClr val="tx1"/>
                </a:solidFill>
                <a:latin typeface="Garamond" panose="02020404030301010803" pitchFamily="18" charset="0"/>
              </a:defRPr>
            </a:lvl2pPr>
            <a:lvl3pPr marL="1143000" indent="-228600" eaLnBrk="0" hangingPunct="0">
              <a:spcBef>
                <a:spcPct val="20000"/>
              </a:spcBef>
              <a:buClr>
                <a:schemeClr val="tx2"/>
              </a:buClr>
              <a:buSzPct val="70000"/>
              <a:buFont typeface="Wingdings" panose="05000000000000000000" pitchFamily="2" charset="2"/>
              <a:buChar char="n"/>
              <a:defRPr sz="2400">
                <a:solidFill>
                  <a:schemeClr val="tx1"/>
                </a:solidFill>
                <a:latin typeface="Garamond" panose="02020404030301010803" pitchFamily="18" charset="0"/>
              </a:defRPr>
            </a:lvl3pPr>
            <a:lvl4pPr marL="1600200" indent="-228600" eaLnBrk="0" hangingPunct="0">
              <a:spcBef>
                <a:spcPct val="20000"/>
              </a:spcBef>
              <a:buClr>
                <a:schemeClr val="accent2"/>
              </a:buClr>
              <a:buSzPct val="70000"/>
              <a:buFont typeface="Wingdings" panose="05000000000000000000" pitchFamily="2" charset="2"/>
              <a:buChar char="n"/>
              <a:defRPr sz="2000">
                <a:solidFill>
                  <a:schemeClr val="tx1"/>
                </a:solidFill>
                <a:latin typeface="Garamond" panose="02020404030301010803" pitchFamily="18" charset="0"/>
              </a:defRPr>
            </a:lvl4pPr>
            <a:lvl5pPr marL="2057400" indent="-228600" eaLnBrk="0" hangingPunct="0">
              <a:spcBef>
                <a:spcPct val="20000"/>
              </a:spcBef>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9pPr>
          </a:lstStyle>
          <a:p>
            <a:pPr algn="ctr" eaLnBrk="1" fontAlgn="base" hangingPunct="1">
              <a:spcBef>
                <a:spcPct val="0"/>
              </a:spcBef>
              <a:spcAft>
                <a:spcPct val="0"/>
              </a:spcAft>
              <a:buClrTx/>
              <a:buSzTx/>
              <a:buNone/>
            </a:pPr>
            <a:r>
              <a:rPr lang="en-US" altLang="en-US" b="1">
                <a:solidFill>
                  <a:srgbClr val="FFFFFF"/>
                </a:solidFill>
                <a:cs typeface="Arial" panose="020B0604020202020204" pitchFamily="34" charset="0"/>
              </a:rPr>
              <a:t>European Perspective</a:t>
            </a:r>
          </a:p>
          <a:p>
            <a:pPr algn="ctr" eaLnBrk="1" fontAlgn="base" hangingPunct="1">
              <a:spcBef>
                <a:spcPct val="0"/>
              </a:spcBef>
              <a:spcAft>
                <a:spcPct val="0"/>
              </a:spcAft>
              <a:buClrTx/>
              <a:buSzTx/>
              <a:buNone/>
            </a:pPr>
            <a:r>
              <a:rPr lang="en-US" altLang="en-US" b="1">
                <a:solidFill>
                  <a:srgbClr val="FFFFFF"/>
                </a:solidFill>
                <a:cs typeface="Arial" panose="020B0604020202020204" pitchFamily="34" charset="0"/>
              </a:rPr>
              <a:t>- Sue Arrowsmith</a:t>
            </a:r>
          </a:p>
        </p:txBody>
      </p:sp>
    </p:spTree>
  </p:cSld>
  <p:clrMapOvr>
    <a:masterClrMapping/>
  </p:clrMapOvr>
  <p:transition>
    <p:random/>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8786" name="Rectangle 2">
            <a:extLst>
              <a:ext uri="{FF2B5EF4-FFF2-40B4-BE49-F238E27FC236}">
                <a16:creationId xmlns:a16="http://schemas.microsoft.com/office/drawing/2014/main" id="{A00AE776-E8FA-4E59-8358-F17A4CA678DB}"/>
              </a:ext>
            </a:extLst>
          </p:cNvPr>
          <p:cNvSpPr>
            <a:spLocks noGrp="1" noRot="1" noChangeArrowheads="1"/>
          </p:cNvSpPr>
          <p:nvPr>
            <p:ph type="title"/>
          </p:nvPr>
        </p:nvSpPr>
        <p:spPr/>
        <p:txBody>
          <a:bodyPr/>
          <a:lstStyle/>
          <a:p>
            <a:pPr eaLnBrk="1" hangingPunct="1">
              <a:defRPr/>
            </a:pPr>
            <a:r>
              <a:rPr lang="en-GB"/>
              <a:t>Which types of auction can be used?</a:t>
            </a:r>
            <a:endParaRPr lang="en-US"/>
          </a:p>
        </p:txBody>
      </p:sp>
      <p:sp>
        <p:nvSpPr>
          <p:cNvPr id="758787" name="Rectangle 3">
            <a:extLst>
              <a:ext uri="{FF2B5EF4-FFF2-40B4-BE49-F238E27FC236}">
                <a16:creationId xmlns:a16="http://schemas.microsoft.com/office/drawing/2014/main" id="{FA920BCB-3BDB-41B9-A179-074269C14C9B}"/>
              </a:ext>
            </a:extLst>
          </p:cNvPr>
          <p:cNvSpPr>
            <a:spLocks noGrp="1" noChangeArrowheads="1"/>
          </p:cNvSpPr>
          <p:nvPr>
            <p:ph type="body" idx="1"/>
          </p:nvPr>
        </p:nvSpPr>
        <p:spPr/>
        <p:txBody>
          <a:bodyPr/>
          <a:lstStyle/>
          <a:p>
            <a:pPr eaLnBrk="1" hangingPunct="1">
              <a:defRPr/>
            </a:pPr>
            <a:r>
              <a:rPr lang="en-GB"/>
              <a:t>Type 2 – allowed</a:t>
            </a:r>
          </a:p>
          <a:p>
            <a:pPr eaLnBrk="1" hangingPunct="1">
              <a:buFont typeface="Wingdings" panose="05000000000000000000" pitchFamily="2" charset="2"/>
              <a:buNone/>
              <a:defRPr/>
            </a:pPr>
            <a:endParaRPr lang="en-GB"/>
          </a:p>
          <a:p>
            <a:pPr lvl="1" eaLnBrk="1" hangingPunct="1">
              <a:defRPr/>
            </a:pPr>
            <a:r>
              <a:rPr lang="en-GB"/>
              <a:t>award is based on aspects of tenders assessed before the auction (e.g.quality) </a:t>
            </a:r>
            <a:r>
              <a:rPr lang="en-GB" i="1"/>
              <a:t>and </a:t>
            </a:r>
            <a:r>
              <a:rPr lang="en-GB"/>
              <a:t>on the auction (where usually only price only is subject to change)</a:t>
            </a:r>
          </a:p>
          <a:p>
            <a:pPr lvl="1" eaLnBrk="1" hangingPunct="1">
              <a:defRPr/>
            </a:pPr>
            <a:r>
              <a:rPr lang="en-GB"/>
              <a:t>winner is apparent during the auction process</a:t>
            </a:r>
          </a:p>
          <a:p>
            <a:pPr eaLnBrk="1" hangingPunct="1">
              <a:defRPr/>
            </a:pPr>
            <a:endParaRPr lang="en-US"/>
          </a:p>
        </p:txBody>
      </p:sp>
      <p:sp>
        <p:nvSpPr>
          <p:cNvPr id="32772" name="Oval 4">
            <a:extLst>
              <a:ext uri="{FF2B5EF4-FFF2-40B4-BE49-F238E27FC236}">
                <a16:creationId xmlns:a16="http://schemas.microsoft.com/office/drawing/2014/main" id="{B2B499FD-B635-4950-8D39-0E036C1BA6D8}"/>
              </a:ext>
            </a:extLst>
          </p:cNvPr>
          <p:cNvSpPr>
            <a:spLocks noChangeArrowheads="1"/>
          </p:cNvSpPr>
          <p:nvPr/>
        </p:nvSpPr>
        <p:spPr bwMode="auto">
          <a:xfrm>
            <a:off x="381000" y="5105400"/>
            <a:ext cx="4343400" cy="1752600"/>
          </a:xfrm>
          <a:prstGeom prst="ellipse">
            <a:avLst/>
          </a:prstGeom>
          <a:solidFill>
            <a:schemeClr val="accent1"/>
          </a:solidFill>
          <a:ln w="9525">
            <a:solidFill>
              <a:schemeClr val="tx1"/>
            </a:solidFill>
            <a:round/>
            <a:headEnd/>
            <a:tailEnd/>
          </a:ln>
        </p:spPr>
        <p:txBody>
          <a:bodyPr wrap="none" anchor="ctr"/>
          <a:lstStyle>
            <a:lvl1pPr eaLnBrk="0" hangingPunct="0">
              <a:spcBef>
                <a:spcPct val="20000"/>
              </a:spcBef>
              <a:buClr>
                <a:schemeClr val="hlink"/>
              </a:buClr>
              <a:buSzPct val="70000"/>
              <a:buFont typeface="Wingdings" panose="05000000000000000000" pitchFamily="2" charset="2"/>
              <a:buChar char="n"/>
              <a:defRPr sz="3200">
                <a:solidFill>
                  <a:schemeClr val="tx1"/>
                </a:solidFill>
                <a:latin typeface="Garamond" panose="02020404030301010803" pitchFamily="18" charset="0"/>
              </a:defRPr>
            </a:lvl1pPr>
            <a:lvl2pPr marL="742950" indent="-285750" eaLnBrk="0" hangingPunct="0">
              <a:spcBef>
                <a:spcPct val="20000"/>
              </a:spcBef>
              <a:buClr>
                <a:schemeClr val="accent2"/>
              </a:buClr>
              <a:buSzPct val="70000"/>
              <a:buFont typeface="Wingdings" panose="05000000000000000000" pitchFamily="2" charset="2"/>
              <a:buChar char="n"/>
              <a:defRPr sz="2800">
                <a:solidFill>
                  <a:schemeClr val="tx1"/>
                </a:solidFill>
                <a:latin typeface="Garamond" panose="02020404030301010803" pitchFamily="18" charset="0"/>
              </a:defRPr>
            </a:lvl2pPr>
            <a:lvl3pPr marL="1143000" indent="-228600" eaLnBrk="0" hangingPunct="0">
              <a:spcBef>
                <a:spcPct val="20000"/>
              </a:spcBef>
              <a:buClr>
                <a:schemeClr val="tx2"/>
              </a:buClr>
              <a:buSzPct val="70000"/>
              <a:buFont typeface="Wingdings" panose="05000000000000000000" pitchFamily="2" charset="2"/>
              <a:buChar char="n"/>
              <a:defRPr sz="2400">
                <a:solidFill>
                  <a:schemeClr val="tx1"/>
                </a:solidFill>
                <a:latin typeface="Garamond" panose="02020404030301010803" pitchFamily="18" charset="0"/>
              </a:defRPr>
            </a:lvl3pPr>
            <a:lvl4pPr marL="1600200" indent="-228600" eaLnBrk="0" hangingPunct="0">
              <a:spcBef>
                <a:spcPct val="20000"/>
              </a:spcBef>
              <a:buClr>
                <a:schemeClr val="accent2"/>
              </a:buClr>
              <a:buSzPct val="70000"/>
              <a:buFont typeface="Wingdings" panose="05000000000000000000" pitchFamily="2" charset="2"/>
              <a:buChar char="n"/>
              <a:defRPr sz="2000">
                <a:solidFill>
                  <a:schemeClr val="tx1"/>
                </a:solidFill>
                <a:latin typeface="Garamond" panose="02020404030301010803" pitchFamily="18" charset="0"/>
              </a:defRPr>
            </a:lvl4pPr>
            <a:lvl5pPr marL="2057400" indent="-228600" eaLnBrk="0" hangingPunct="0">
              <a:spcBef>
                <a:spcPct val="20000"/>
              </a:spcBef>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9pPr>
          </a:lstStyle>
          <a:p>
            <a:pPr algn="ctr" eaLnBrk="1" fontAlgn="base" hangingPunct="1">
              <a:spcBef>
                <a:spcPct val="0"/>
              </a:spcBef>
              <a:spcAft>
                <a:spcPct val="0"/>
              </a:spcAft>
              <a:buClrTx/>
              <a:buSzTx/>
              <a:buNone/>
            </a:pPr>
            <a:r>
              <a:rPr lang="en-US" altLang="en-US" b="1">
                <a:solidFill>
                  <a:srgbClr val="FFFFFF"/>
                </a:solidFill>
                <a:cs typeface="Arial" panose="020B0604020202020204" pitchFamily="34" charset="0"/>
              </a:rPr>
              <a:t>European Perspective</a:t>
            </a:r>
          </a:p>
          <a:p>
            <a:pPr algn="ctr" eaLnBrk="1" fontAlgn="base" hangingPunct="1">
              <a:spcBef>
                <a:spcPct val="0"/>
              </a:spcBef>
              <a:spcAft>
                <a:spcPct val="0"/>
              </a:spcAft>
              <a:buClrTx/>
              <a:buSzTx/>
              <a:buNone/>
            </a:pPr>
            <a:r>
              <a:rPr lang="en-US" altLang="en-US" b="1">
                <a:solidFill>
                  <a:srgbClr val="FFFFFF"/>
                </a:solidFill>
                <a:cs typeface="Arial" panose="020B0604020202020204" pitchFamily="34" charset="0"/>
              </a:rPr>
              <a:t>- Sue Arrowsmith</a:t>
            </a:r>
          </a:p>
        </p:txBody>
      </p:sp>
    </p:spTree>
  </p:cSld>
  <p:clrMapOvr>
    <a:masterClrMapping/>
  </p:clrMapOvr>
  <p:transition>
    <p:random/>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1858" name="Rectangle 2">
            <a:extLst>
              <a:ext uri="{FF2B5EF4-FFF2-40B4-BE49-F238E27FC236}">
                <a16:creationId xmlns:a16="http://schemas.microsoft.com/office/drawing/2014/main" id="{6EA0AB99-9F80-4CD2-B838-73965694EF4F}"/>
              </a:ext>
            </a:extLst>
          </p:cNvPr>
          <p:cNvSpPr>
            <a:spLocks noGrp="1" noRot="1" noChangeArrowheads="1"/>
          </p:cNvSpPr>
          <p:nvPr>
            <p:ph type="title"/>
          </p:nvPr>
        </p:nvSpPr>
        <p:spPr/>
        <p:txBody>
          <a:bodyPr/>
          <a:lstStyle/>
          <a:p>
            <a:pPr eaLnBrk="1" hangingPunct="1">
              <a:defRPr/>
            </a:pPr>
            <a:r>
              <a:rPr lang="en-GB"/>
              <a:t>Which types of auction can be used?</a:t>
            </a:r>
            <a:endParaRPr lang="en-US"/>
          </a:p>
        </p:txBody>
      </p:sp>
      <p:sp>
        <p:nvSpPr>
          <p:cNvPr id="761859" name="Rectangle 3">
            <a:extLst>
              <a:ext uri="{FF2B5EF4-FFF2-40B4-BE49-F238E27FC236}">
                <a16:creationId xmlns:a16="http://schemas.microsoft.com/office/drawing/2014/main" id="{B9803F0A-78D3-4686-90FE-3A11666F53A5}"/>
              </a:ext>
            </a:extLst>
          </p:cNvPr>
          <p:cNvSpPr>
            <a:spLocks noGrp="1" noChangeArrowheads="1"/>
          </p:cNvSpPr>
          <p:nvPr>
            <p:ph type="body" idx="1"/>
          </p:nvPr>
        </p:nvSpPr>
        <p:spPr/>
        <p:txBody>
          <a:bodyPr/>
          <a:lstStyle/>
          <a:p>
            <a:pPr eaLnBrk="1" hangingPunct="1">
              <a:defRPr/>
            </a:pPr>
            <a:r>
              <a:rPr lang="en-GB" sz="2800" dirty="0"/>
              <a:t>Type 3 – not allowed under directives at all; was rare before new directives </a:t>
            </a:r>
            <a:r>
              <a:rPr lang="en-GB" sz="2800" i="1" dirty="0"/>
              <a:t>except </a:t>
            </a:r>
            <a:r>
              <a:rPr lang="en-GB" sz="2800" dirty="0"/>
              <a:t>for utilities</a:t>
            </a:r>
          </a:p>
          <a:p>
            <a:pPr lvl="1" eaLnBrk="1" hangingPunct="1">
              <a:defRPr/>
            </a:pPr>
            <a:endParaRPr lang="en-GB" sz="2400" dirty="0"/>
          </a:p>
          <a:p>
            <a:pPr lvl="1" eaLnBrk="1" hangingPunct="1">
              <a:defRPr/>
            </a:pPr>
            <a:r>
              <a:rPr lang="en-GB" sz="2400" dirty="0"/>
              <a:t>As in type 2, award is based on aspects of tenders not changed in the auction (e.g. quality) </a:t>
            </a:r>
            <a:r>
              <a:rPr lang="en-GB" sz="2400" i="1" dirty="0"/>
              <a:t>and</a:t>
            </a:r>
            <a:r>
              <a:rPr lang="en-GB" sz="2400" dirty="0"/>
              <a:t> on the auction</a:t>
            </a:r>
          </a:p>
          <a:p>
            <a:pPr lvl="1" eaLnBrk="1" hangingPunct="1">
              <a:defRPr/>
            </a:pPr>
            <a:r>
              <a:rPr lang="en-GB" sz="2400" dirty="0"/>
              <a:t>winner is </a:t>
            </a:r>
            <a:r>
              <a:rPr lang="en-GB" sz="2400" i="1" dirty="0"/>
              <a:t>not </a:t>
            </a:r>
            <a:r>
              <a:rPr lang="en-GB" sz="2400" dirty="0"/>
              <a:t>apparent during the auction process (e.g. quality is judged </a:t>
            </a:r>
            <a:r>
              <a:rPr lang="en-GB" sz="2400" i="1" dirty="0"/>
              <a:t>after</a:t>
            </a:r>
            <a:r>
              <a:rPr lang="en-GB" sz="2400" dirty="0"/>
              <a:t> the auction and then an overall judgment made on price/quality)</a:t>
            </a:r>
          </a:p>
          <a:p>
            <a:pPr eaLnBrk="1" hangingPunct="1">
              <a:defRPr/>
            </a:pPr>
            <a:endParaRPr lang="en-US" sz="2800" dirty="0"/>
          </a:p>
        </p:txBody>
      </p:sp>
      <p:sp>
        <p:nvSpPr>
          <p:cNvPr id="33796" name="Oval 4">
            <a:extLst>
              <a:ext uri="{FF2B5EF4-FFF2-40B4-BE49-F238E27FC236}">
                <a16:creationId xmlns:a16="http://schemas.microsoft.com/office/drawing/2014/main" id="{A2A5AEED-19F8-4E11-9C99-DED3B896DADC}"/>
              </a:ext>
            </a:extLst>
          </p:cNvPr>
          <p:cNvSpPr>
            <a:spLocks noChangeArrowheads="1"/>
          </p:cNvSpPr>
          <p:nvPr/>
        </p:nvSpPr>
        <p:spPr bwMode="auto">
          <a:xfrm>
            <a:off x="4191000" y="5105400"/>
            <a:ext cx="4343400" cy="1752600"/>
          </a:xfrm>
          <a:prstGeom prst="ellipse">
            <a:avLst/>
          </a:prstGeom>
          <a:solidFill>
            <a:schemeClr val="accent1"/>
          </a:solidFill>
          <a:ln w="9525">
            <a:solidFill>
              <a:schemeClr val="tx1"/>
            </a:solidFill>
            <a:round/>
            <a:headEnd/>
            <a:tailEnd/>
          </a:ln>
        </p:spPr>
        <p:txBody>
          <a:bodyPr wrap="none" anchor="ctr"/>
          <a:lstStyle>
            <a:lvl1pPr eaLnBrk="0" hangingPunct="0">
              <a:spcBef>
                <a:spcPct val="20000"/>
              </a:spcBef>
              <a:buClr>
                <a:schemeClr val="hlink"/>
              </a:buClr>
              <a:buSzPct val="70000"/>
              <a:buFont typeface="Wingdings" panose="05000000000000000000" pitchFamily="2" charset="2"/>
              <a:buChar char="n"/>
              <a:defRPr sz="3200">
                <a:solidFill>
                  <a:schemeClr val="tx1"/>
                </a:solidFill>
                <a:latin typeface="Garamond" panose="02020404030301010803" pitchFamily="18" charset="0"/>
              </a:defRPr>
            </a:lvl1pPr>
            <a:lvl2pPr marL="742950" indent="-285750" eaLnBrk="0" hangingPunct="0">
              <a:spcBef>
                <a:spcPct val="20000"/>
              </a:spcBef>
              <a:buClr>
                <a:schemeClr val="accent2"/>
              </a:buClr>
              <a:buSzPct val="70000"/>
              <a:buFont typeface="Wingdings" panose="05000000000000000000" pitchFamily="2" charset="2"/>
              <a:buChar char="n"/>
              <a:defRPr sz="2800">
                <a:solidFill>
                  <a:schemeClr val="tx1"/>
                </a:solidFill>
                <a:latin typeface="Garamond" panose="02020404030301010803" pitchFamily="18" charset="0"/>
              </a:defRPr>
            </a:lvl2pPr>
            <a:lvl3pPr marL="1143000" indent="-228600" eaLnBrk="0" hangingPunct="0">
              <a:spcBef>
                <a:spcPct val="20000"/>
              </a:spcBef>
              <a:buClr>
                <a:schemeClr val="tx2"/>
              </a:buClr>
              <a:buSzPct val="70000"/>
              <a:buFont typeface="Wingdings" panose="05000000000000000000" pitchFamily="2" charset="2"/>
              <a:buChar char="n"/>
              <a:defRPr sz="2400">
                <a:solidFill>
                  <a:schemeClr val="tx1"/>
                </a:solidFill>
                <a:latin typeface="Garamond" panose="02020404030301010803" pitchFamily="18" charset="0"/>
              </a:defRPr>
            </a:lvl3pPr>
            <a:lvl4pPr marL="1600200" indent="-228600" eaLnBrk="0" hangingPunct="0">
              <a:spcBef>
                <a:spcPct val="20000"/>
              </a:spcBef>
              <a:buClr>
                <a:schemeClr val="accent2"/>
              </a:buClr>
              <a:buSzPct val="70000"/>
              <a:buFont typeface="Wingdings" panose="05000000000000000000" pitchFamily="2" charset="2"/>
              <a:buChar char="n"/>
              <a:defRPr sz="2000">
                <a:solidFill>
                  <a:schemeClr val="tx1"/>
                </a:solidFill>
                <a:latin typeface="Garamond" panose="02020404030301010803" pitchFamily="18" charset="0"/>
              </a:defRPr>
            </a:lvl4pPr>
            <a:lvl5pPr marL="2057400" indent="-228600" eaLnBrk="0" hangingPunct="0">
              <a:spcBef>
                <a:spcPct val="20000"/>
              </a:spcBef>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9pPr>
          </a:lstStyle>
          <a:p>
            <a:pPr algn="ctr" eaLnBrk="1" fontAlgn="base" hangingPunct="1">
              <a:spcBef>
                <a:spcPct val="0"/>
              </a:spcBef>
              <a:spcAft>
                <a:spcPct val="0"/>
              </a:spcAft>
              <a:buClrTx/>
              <a:buSzTx/>
              <a:buNone/>
            </a:pPr>
            <a:r>
              <a:rPr lang="en-US" altLang="en-US" b="1">
                <a:solidFill>
                  <a:srgbClr val="FFFFFF"/>
                </a:solidFill>
                <a:cs typeface="Arial" panose="020B0604020202020204" pitchFamily="34" charset="0"/>
              </a:rPr>
              <a:t>European Perspective</a:t>
            </a:r>
          </a:p>
          <a:p>
            <a:pPr algn="ctr" eaLnBrk="1" fontAlgn="base" hangingPunct="1">
              <a:spcBef>
                <a:spcPct val="0"/>
              </a:spcBef>
              <a:spcAft>
                <a:spcPct val="0"/>
              </a:spcAft>
              <a:buClrTx/>
              <a:buSzTx/>
              <a:buNone/>
            </a:pPr>
            <a:r>
              <a:rPr lang="en-US" altLang="en-US" b="1">
                <a:solidFill>
                  <a:srgbClr val="FFFFFF"/>
                </a:solidFill>
                <a:cs typeface="Arial" panose="020B0604020202020204" pitchFamily="34" charset="0"/>
              </a:rPr>
              <a:t>- Sue Arrowsmith</a:t>
            </a:r>
          </a:p>
        </p:txBody>
      </p:sp>
    </p:spTree>
  </p:cSld>
  <p:clrMapOvr>
    <a:masterClrMapping/>
  </p:clrMapOvr>
  <p:transition>
    <p:random/>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AE4DE5-05C4-499A-B442-90FA9B17CE38}"/>
              </a:ext>
            </a:extLst>
          </p:cNvPr>
          <p:cNvSpPr>
            <a:spLocks noGrp="1"/>
          </p:cNvSpPr>
          <p:nvPr>
            <p:ph type="title"/>
          </p:nvPr>
        </p:nvSpPr>
        <p:spPr/>
        <p:txBody>
          <a:bodyPr/>
          <a:lstStyle/>
          <a:p>
            <a:r>
              <a:rPr lang="en-US" dirty="0"/>
              <a:t>Electronic Marketplaces</a:t>
            </a:r>
          </a:p>
        </p:txBody>
      </p:sp>
      <p:sp>
        <p:nvSpPr>
          <p:cNvPr id="4" name="Text Placeholder 3">
            <a:extLst>
              <a:ext uri="{FF2B5EF4-FFF2-40B4-BE49-F238E27FC236}">
                <a16:creationId xmlns:a16="http://schemas.microsoft.com/office/drawing/2014/main" id="{37438341-F848-4EAE-9595-15EDEC6C4CF4}"/>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14629613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4386" name="Rectangle 2">
            <a:extLst>
              <a:ext uri="{FF2B5EF4-FFF2-40B4-BE49-F238E27FC236}">
                <a16:creationId xmlns:a16="http://schemas.microsoft.com/office/drawing/2014/main" id="{EA34D597-E704-4FF5-A042-F1E553FA16C4}"/>
              </a:ext>
            </a:extLst>
          </p:cNvPr>
          <p:cNvSpPr>
            <a:spLocks noGrp="1" noRot="1" noChangeArrowheads="1"/>
          </p:cNvSpPr>
          <p:nvPr>
            <p:ph type="title"/>
          </p:nvPr>
        </p:nvSpPr>
        <p:spPr/>
        <p:txBody>
          <a:bodyPr/>
          <a:lstStyle/>
          <a:p>
            <a:pPr eaLnBrk="1" hangingPunct="1">
              <a:defRPr/>
            </a:pPr>
            <a:r>
              <a:rPr lang="en-US" sz="4000"/>
              <a:t>European Union Directive – Cont’d</a:t>
            </a:r>
          </a:p>
        </p:txBody>
      </p:sp>
      <p:sp>
        <p:nvSpPr>
          <p:cNvPr id="784387" name="Rectangle 3">
            <a:extLst>
              <a:ext uri="{FF2B5EF4-FFF2-40B4-BE49-F238E27FC236}">
                <a16:creationId xmlns:a16="http://schemas.microsoft.com/office/drawing/2014/main" id="{5D46E581-928E-46B9-8F95-6F1C8B12E4ED}"/>
              </a:ext>
            </a:extLst>
          </p:cNvPr>
          <p:cNvSpPr>
            <a:spLocks noGrp="1" noChangeArrowheads="1"/>
          </p:cNvSpPr>
          <p:nvPr>
            <p:ph type="body" idx="1"/>
          </p:nvPr>
        </p:nvSpPr>
        <p:spPr/>
        <p:txBody>
          <a:bodyPr/>
          <a:lstStyle/>
          <a:p>
            <a:pPr eaLnBrk="1" hangingPunct="1">
              <a:lnSpc>
                <a:spcPct val="80000"/>
              </a:lnSpc>
              <a:buFont typeface="Wingdings" panose="05000000000000000000" pitchFamily="2" charset="2"/>
              <a:buNone/>
              <a:defRPr/>
            </a:pPr>
            <a:r>
              <a:rPr lang="en-US" dirty="0">
                <a:solidFill>
                  <a:schemeClr val="hlink"/>
                </a:solidFill>
              </a:rPr>
              <a:t>The electronic auction shall be based:</a:t>
            </a:r>
          </a:p>
          <a:p>
            <a:pPr eaLnBrk="1" hangingPunct="1">
              <a:lnSpc>
                <a:spcPct val="80000"/>
              </a:lnSpc>
              <a:buFont typeface="Wingdings" panose="05000000000000000000" pitchFamily="2" charset="2"/>
              <a:buNone/>
              <a:defRPr/>
            </a:pPr>
            <a:r>
              <a:rPr lang="en-US" dirty="0"/>
              <a:t>- </a:t>
            </a:r>
            <a:r>
              <a:rPr lang="en-US" u="sng" dirty="0"/>
              <a:t>either solely on prices</a:t>
            </a:r>
            <a:r>
              <a:rPr lang="en-US" dirty="0"/>
              <a:t> when the contract is awarded to the lowest price,</a:t>
            </a:r>
          </a:p>
          <a:p>
            <a:pPr eaLnBrk="1" hangingPunct="1">
              <a:lnSpc>
                <a:spcPct val="80000"/>
              </a:lnSpc>
              <a:buFont typeface="Wingdings" panose="05000000000000000000" pitchFamily="2" charset="2"/>
              <a:buNone/>
              <a:defRPr/>
            </a:pPr>
            <a:r>
              <a:rPr lang="en-US" dirty="0"/>
              <a:t>- or </a:t>
            </a:r>
            <a:r>
              <a:rPr lang="en-US" u="sng" dirty="0"/>
              <a:t>on prices and/or on the new values of the features of the tenders indicated in the specification when the contract is awarded to the most economically advantageous tender</a:t>
            </a:r>
            <a:r>
              <a:rPr lang="en-US" dirty="0"/>
              <a:t>.</a:t>
            </a:r>
          </a:p>
        </p:txBody>
      </p:sp>
    </p:spTree>
  </p:cSld>
  <p:clrMapOvr>
    <a:masterClrMapping/>
  </p:clrMapOvr>
  <p:transition>
    <p:random/>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9746" name="Rectangle 2">
            <a:extLst>
              <a:ext uri="{FF2B5EF4-FFF2-40B4-BE49-F238E27FC236}">
                <a16:creationId xmlns:a16="http://schemas.microsoft.com/office/drawing/2014/main" id="{05CDE0FB-CB98-418E-85DA-A8C82399DDC5}"/>
              </a:ext>
            </a:extLst>
          </p:cNvPr>
          <p:cNvSpPr>
            <a:spLocks noGrp="1" noRot="1" noChangeArrowheads="1"/>
          </p:cNvSpPr>
          <p:nvPr>
            <p:ph type="title"/>
          </p:nvPr>
        </p:nvSpPr>
        <p:spPr/>
        <p:txBody>
          <a:bodyPr/>
          <a:lstStyle/>
          <a:p>
            <a:pPr eaLnBrk="1" hangingPunct="1">
              <a:defRPr/>
            </a:pPr>
            <a:r>
              <a:rPr lang="en-US"/>
              <a:t>Mock Auction Rules</a:t>
            </a:r>
          </a:p>
        </p:txBody>
      </p:sp>
      <p:sp>
        <p:nvSpPr>
          <p:cNvPr id="799747" name="Rectangle 3">
            <a:extLst>
              <a:ext uri="{FF2B5EF4-FFF2-40B4-BE49-F238E27FC236}">
                <a16:creationId xmlns:a16="http://schemas.microsoft.com/office/drawing/2014/main" id="{55E92A1B-3EAE-4D37-916E-8808377B0441}"/>
              </a:ext>
            </a:extLst>
          </p:cNvPr>
          <p:cNvSpPr>
            <a:spLocks noGrp="1" noChangeArrowheads="1"/>
          </p:cNvSpPr>
          <p:nvPr>
            <p:ph type="body" idx="1"/>
          </p:nvPr>
        </p:nvSpPr>
        <p:spPr/>
        <p:txBody>
          <a:bodyPr/>
          <a:lstStyle/>
          <a:p>
            <a:pPr eaLnBrk="1" hangingPunct="1">
              <a:defRPr/>
            </a:pPr>
            <a:r>
              <a:rPr lang="en-US" dirty="0"/>
              <a:t>Group descriptions drive bidding strategy</a:t>
            </a:r>
          </a:p>
          <a:p>
            <a:pPr eaLnBrk="1" hangingPunct="1">
              <a:defRPr/>
            </a:pPr>
            <a:r>
              <a:rPr lang="en-US" dirty="0"/>
              <a:t>Auction per mock solicitation</a:t>
            </a:r>
          </a:p>
          <a:p>
            <a:pPr eaLnBrk="1" hangingPunct="1">
              <a:defRPr/>
            </a:pPr>
            <a:r>
              <a:rPr lang="en-US" dirty="0"/>
              <a:t>U.S. rules regarding reverse auctions apply</a:t>
            </a:r>
          </a:p>
          <a:p>
            <a:pPr eaLnBrk="1" hangingPunct="1">
              <a:defRPr/>
            </a:pPr>
            <a:r>
              <a:rPr lang="en-US" dirty="0"/>
              <a:t>U.S. bid protest rules apply</a:t>
            </a:r>
          </a:p>
          <a:p>
            <a:pPr eaLnBrk="1" hangingPunct="1">
              <a:defRPr/>
            </a:pPr>
            <a:r>
              <a:rPr lang="en-US" dirty="0"/>
              <a:t>Bids to auctioneer; low bid posted</a:t>
            </a:r>
          </a:p>
          <a:p>
            <a:pPr eaLnBrk="1" hangingPunct="1">
              <a:defRPr/>
            </a:pPr>
            <a:r>
              <a:rPr lang="en-US" dirty="0"/>
              <a:t>Professor is both auctioneer and arbiter</a:t>
            </a:r>
          </a:p>
        </p:txBody>
      </p:sp>
    </p:spTree>
  </p:cSld>
  <p:clrMapOvr>
    <a:masterClrMapping/>
  </p:clrMapOvr>
  <p:transition>
    <p:random/>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D522FC-774D-4E22-AE70-CBDEBD9B7B8F}"/>
              </a:ext>
            </a:extLst>
          </p:cNvPr>
          <p:cNvSpPr>
            <a:spLocks noGrp="1"/>
          </p:cNvSpPr>
          <p:nvPr>
            <p:ph type="title"/>
          </p:nvPr>
        </p:nvSpPr>
        <p:spPr/>
        <p:txBody>
          <a:bodyPr/>
          <a:lstStyle/>
          <a:p>
            <a:pPr eaLnBrk="1" hangingPunct="1">
              <a:defRPr/>
            </a:pPr>
            <a:r>
              <a:rPr lang="en-US" dirty="0"/>
              <a:t>Mock Auction</a:t>
            </a:r>
          </a:p>
        </p:txBody>
      </p:sp>
      <p:sp>
        <p:nvSpPr>
          <p:cNvPr id="3" name="Content Placeholder 2">
            <a:extLst>
              <a:ext uri="{FF2B5EF4-FFF2-40B4-BE49-F238E27FC236}">
                <a16:creationId xmlns:a16="http://schemas.microsoft.com/office/drawing/2014/main" id="{7434E92E-A5EF-469E-B7A6-B0D9CAE613BA}"/>
              </a:ext>
            </a:extLst>
          </p:cNvPr>
          <p:cNvSpPr>
            <a:spLocks noGrp="1"/>
          </p:cNvSpPr>
          <p:nvPr>
            <p:ph idx="1"/>
          </p:nvPr>
        </p:nvSpPr>
        <p:spPr/>
        <p:txBody>
          <a:bodyPr/>
          <a:lstStyle/>
          <a:p>
            <a:pPr eaLnBrk="1" hangingPunct="1">
              <a:defRPr/>
            </a:pPr>
            <a:r>
              <a:rPr lang="en-US" dirty="0"/>
              <a:t>General Facts:  Solicitation </a:t>
            </a:r>
          </a:p>
          <a:p>
            <a:pPr marL="0" indent="0" eaLnBrk="1" hangingPunct="1">
              <a:buNone/>
              <a:defRPr/>
            </a:pPr>
            <a:endParaRPr lang="en-US" dirty="0"/>
          </a:p>
          <a:p>
            <a:pPr marL="0" indent="0" eaLnBrk="1" hangingPunct="1">
              <a:buNone/>
              <a:defRPr/>
            </a:pPr>
            <a:endParaRPr lang="en-US" dirty="0"/>
          </a:p>
          <a:p>
            <a:pPr eaLnBrk="1" hangingPunct="1">
              <a:defRPr/>
            </a:pPr>
            <a:r>
              <a:rPr lang="en-US" dirty="0"/>
              <a:t>Team-Specific Facts (to be distributed)</a:t>
            </a:r>
          </a:p>
          <a:p>
            <a:pPr eaLnBrk="1" hangingPunct="1">
              <a:defRPr/>
            </a:pPr>
            <a:endParaRPr lang="en-US" dirty="0"/>
          </a:p>
          <a:p>
            <a:pPr marL="0" indent="0" eaLnBrk="1" hangingPunct="1">
              <a:buNone/>
              <a:defRPr/>
            </a:pPr>
            <a:endParaRPr lang="en-US" dirty="0"/>
          </a:p>
        </p:txBody>
      </p:sp>
    </p:spTree>
  </p:cSld>
  <p:clrMapOvr>
    <a:masterClrMapping/>
  </p:clrMapOvr>
  <p:transition>
    <p:random/>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6DA299-6F88-48F5-9969-82817D5E033B}"/>
              </a:ext>
            </a:extLst>
          </p:cNvPr>
          <p:cNvSpPr>
            <a:spLocks noGrp="1"/>
          </p:cNvSpPr>
          <p:nvPr>
            <p:ph type="title"/>
          </p:nvPr>
        </p:nvSpPr>
        <p:spPr>
          <a:xfrm>
            <a:off x="873125" y="4038602"/>
            <a:ext cx="7772400" cy="841375"/>
          </a:xfrm>
        </p:spPr>
        <p:txBody>
          <a:bodyPr>
            <a:normAutofit/>
          </a:bodyPr>
          <a:lstStyle/>
          <a:p>
            <a:pPr algn="r" eaLnBrk="1" hangingPunct="1">
              <a:defRPr/>
            </a:pPr>
            <a:r>
              <a:rPr lang="en-US" dirty="0"/>
              <a:t>Conclusion</a:t>
            </a:r>
          </a:p>
        </p:txBody>
      </p:sp>
      <p:sp>
        <p:nvSpPr>
          <p:cNvPr id="32771" name="Slide Number Placeholder 3">
            <a:extLst>
              <a:ext uri="{FF2B5EF4-FFF2-40B4-BE49-F238E27FC236}">
                <a16:creationId xmlns:a16="http://schemas.microsoft.com/office/drawing/2014/main" id="{FFCAE274-CD2B-4DAF-A8B4-1C765354E622}"/>
              </a:ext>
            </a:extLst>
          </p:cNvPr>
          <p:cNvSpPr>
            <a:spLocks noGrp="1"/>
          </p:cNvSpPr>
          <p:nvPr>
            <p:ph type="sldNum" sz="quarter" idx="11"/>
          </p:nvPr>
        </p:nvSpPr>
        <p:spPr>
          <a:xfrm>
            <a:off x="3124200" y="6248400"/>
            <a:ext cx="2895600" cy="476250"/>
          </a:xfr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chemeClr val="hlink"/>
              </a:buClr>
              <a:buSzPct val="70000"/>
              <a:buFont typeface="Wingdings" panose="05000000000000000000" pitchFamily="2" charset="2"/>
              <a:buChar char="n"/>
              <a:defRPr sz="3200">
                <a:solidFill>
                  <a:schemeClr val="tx1"/>
                </a:solidFill>
                <a:latin typeface="Garamond" panose="02020404030301010803" pitchFamily="18" charset="0"/>
              </a:defRPr>
            </a:lvl1pPr>
            <a:lvl2pPr marL="742950" indent="-285750" eaLnBrk="0" hangingPunct="0">
              <a:spcBef>
                <a:spcPct val="20000"/>
              </a:spcBef>
              <a:buClr>
                <a:schemeClr val="accent2"/>
              </a:buClr>
              <a:buSzPct val="70000"/>
              <a:buFont typeface="Wingdings" panose="05000000000000000000" pitchFamily="2" charset="2"/>
              <a:buChar char="n"/>
              <a:defRPr sz="2800">
                <a:solidFill>
                  <a:schemeClr val="tx1"/>
                </a:solidFill>
                <a:latin typeface="Garamond" panose="02020404030301010803" pitchFamily="18" charset="0"/>
              </a:defRPr>
            </a:lvl2pPr>
            <a:lvl3pPr marL="1143000" indent="-228600" eaLnBrk="0" hangingPunct="0">
              <a:spcBef>
                <a:spcPct val="20000"/>
              </a:spcBef>
              <a:buClr>
                <a:schemeClr val="tx2"/>
              </a:buClr>
              <a:buSzPct val="70000"/>
              <a:buFont typeface="Wingdings" panose="05000000000000000000" pitchFamily="2" charset="2"/>
              <a:buChar char="n"/>
              <a:defRPr sz="2400">
                <a:solidFill>
                  <a:schemeClr val="tx1"/>
                </a:solidFill>
                <a:latin typeface="Garamond" panose="02020404030301010803" pitchFamily="18" charset="0"/>
              </a:defRPr>
            </a:lvl3pPr>
            <a:lvl4pPr marL="1600200" indent="-228600" eaLnBrk="0" hangingPunct="0">
              <a:spcBef>
                <a:spcPct val="20000"/>
              </a:spcBef>
              <a:buClr>
                <a:schemeClr val="accent2"/>
              </a:buClr>
              <a:buSzPct val="70000"/>
              <a:buFont typeface="Wingdings" panose="05000000000000000000" pitchFamily="2" charset="2"/>
              <a:buChar char="n"/>
              <a:defRPr sz="2000">
                <a:solidFill>
                  <a:schemeClr val="tx1"/>
                </a:solidFill>
                <a:latin typeface="Garamond" panose="02020404030301010803" pitchFamily="18" charset="0"/>
              </a:defRPr>
            </a:lvl4pPr>
            <a:lvl5pPr marL="2057400" indent="-228600" eaLnBrk="0" hangingPunct="0">
              <a:spcBef>
                <a:spcPct val="20000"/>
              </a:spcBef>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9pPr>
          </a:lstStyle>
          <a:p>
            <a:pPr algn="ctr" eaLnBrk="1" fontAlgn="base" hangingPunct="1">
              <a:spcBef>
                <a:spcPct val="0"/>
              </a:spcBef>
              <a:spcAft>
                <a:spcPct val="0"/>
              </a:spcAft>
              <a:buClrTx/>
              <a:buSzTx/>
              <a:buNone/>
            </a:pPr>
            <a:endParaRPr lang="en-US" altLang="en-US" sz="1200" dirty="0">
              <a:solidFill>
                <a:srgbClr val="FFFFFF"/>
              </a:solidFill>
              <a:latin typeface="Arial" panose="020B0604020202020204" pitchFamily="34" charset="0"/>
              <a:cs typeface="Arial" panose="020B0604020202020204" pitchFamily="34" charset="0"/>
            </a:endParaRPr>
          </a:p>
        </p:txBody>
      </p:sp>
      <p:sp>
        <p:nvSpPr>
          <p:cNvPr id="10" name="Subtitle 2">
            <a:extLst>
              <a:ext uri="{FF2B5EF4-FFF2-40B4-BE49-F238E27FC236}">
                <a16:creationId xmlns:a16="http://schemas.microsoft.com/office/drawing/2014/main" id="{6FF3EF43-273A-43CA-92E7-D8D48E038115}"/>
              </a:ext>
            </a:extLst>
          </p:cNvPr>
          <p:cNvSpPr txBox="1">
            <a:spLocks/>
          </p:cNvSpPr>
          <p:nvPr/>
        </p:nvSpPr>
        <p:spPr>
          <a:xfrm>
            <a:off x="533400" y="1752600"/>
            <a:ext cx="6400800" cy="1752600"/>
          </a:xfrm>
          <a:prstGeom prst="rect">
            <a:avLst/>
          </a:prstGeom>
        </p:spPr>
        <p:txBody>
          <a:bodyPr>
            <a:normAutofit/>
          </a:bodyPr>
          <a:lstStyle/>
          <a:p>
            <a:pPr marL="342900" indent="-342900">
              <a:spcBef>
                <a:spcPct val="20000"/>
              </a:spcBef>
              <a:defRPr/>
            </a:pPr>
            <a:r>
              <a:rPr lang="en-US" sz="3200" dirty="0">
                <a:solidFill>
                  <a:srgbClr val="FFFFFF"/>
                </a:solidFill>
                <a:latin typeface="Garamond"/>
                <a:cs typeface="Arial" panose="020B0604020202020204" pitchFamily="34" charset="0"/>
              </a:rPr>
              <a:t>Christopher R. Yukins</a:t>
            </a:r>
          </a:p>
          <a:p>
            <a:pPr marL="342900" indent="-342900">
              <a:spcBef>
                <a:spcPct val="20000"/>
              </a:spcBef>
              <a:defRPr/>
            </a:pPr>
            <a:r>
              <a:rPr lang="en-US" sz="2000" dirty="0">
                <a:solidFill>
                  <a:srgbClr val="FFFFFF"/>
                </a:solidFill>
                <a:latin typeface="Garamond"/>
                <a:cs typeface="Arial" panose="020B0604020202020204" pitchFamily="34" charset="0"/>
              </a:rPr>
              <a:t>cyukins@law.gwu.edu</a:t>
            </a:r>
          </a:p>
          <a:p>
            <a:pPr marL="342900" indent="-342900">
              <a:spcBef>
                <a:spcPct val="20000"/>
              </a:spcBef>
              <a:defRPr/>
            </a:pPr>
            <a:r>
              <a:rPr lang="en-US" sz="2000" dirty="0">
                <a:solidFill>
                  <a:srgbClr val="FFFFFF"/>
                </a:solidFill>
                <a:latin typeface="Garamond"/>
                <a:cs typeface="Arial" panose="020B0604020202020204" pitchFamily="34" charset="0"/>
              </a:rPr>
              <a:t>Tel. +1 703 304 4773</a:t>
            </a:r>
          </a:p>
        </p:txBody>
      </p:sp>
    </p:spTree>
  </p:cSld>
  <p:clrMapOvr>
    <a:masterClrMapping/>
  </p:clrMapOvr>
  <p:transition>
    <p:random/>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extBox 4">
            <a:extLst>
              <a:ext uri="{FF2B5EF4-FFF2-40B4-BE49-F238E27FC236}">
                <a16:creationId xmlns:a16="http://schemas.microsoft.com/office/drawing/2014/main" id="{97649E32-00D4-4474-BBBC-4E55D2ED9DCC}"/>
              </a:ext>
            </a:extLst>
          </p:cNvPr>
          <p:cNvSpPr txBox="1">
            <a:spLocks noChangeArrowheads="1"/>
          </p:cNvSpPr>
          <p:nvPr/>
        </p:nvSpPr>
        <p:spPr bwMode="auto">
          <a:xfrm>
            <a:off x="8214554" y="1974848"/>
            <a:ext cx="884635" cy="577081"/>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r" defTabSz="685800" fontAlgn="base">
              <a:spcBef>
                <a:spcPct val="0"/>
              </a:spcBef>
              <a:spcAft>
                <a:spcPct val="0"/>
              </a:spcAft>
              <a:defRPr/>
            </a:pPr>
            <a:r>
              <a:rPr lang="en-US" altLang="en-US" sz="1050" b="1" dirty="0">
                <a:solidFill>
                  <a:prstClr val="black"/>
                </a:solidFill>
                <a:cs typeface="Arial" panose="020B0604020202020204" pitchFamily="34" charset="0"/>
              </a:rPr>
              <a:t>MAJ Abraham Young, USA</a:t>
            </a:r>
          </a:p>
        </p:txBody>
      </p:sp>
      <p:pic>
        <p:nvPicPr>
          <p:cNvPr id="32771" name="Picture 10">
            <a:extLst>
              <a:ext uri="{FF2B5EF4-FFF2-40B4-BE49-F238E27FC236}">
                <a16:creationId xmlns:a16="http://schemas.microsoft.com/office/drawing/2014/main" id="{49C9BB09-35FB-4073-AE45-C61C6111736C}"/>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262813" y="2551927"/>
            <a:ext cx="1809750" cy="10167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2772" name="Picture 8" descr="The Army's current inventory of boots includes seven different styles designed for different environments and climates. The boots issued initially to recruits are the Hot Weather and Temperate Weather Army Combat Boots. (David Kamm/Army)">
            <a:extLst>
              <a:ext uri="{FF2B5EF4-FFF2-40B4-BE49-F238E27FC236}">
                <a16:creationId xmlns:a16="http://schemas.microsoft.com/office/drawing/2014/main" id="{9C450B2C-E30D-4EA9-94E0-600C8B310FB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958935" y="3879078"/>
            <a:ext cx="1993106" cy="1614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773" name="Picture 5">
            <a:extLst>
              <a:ext uri="{FF2B5EF4-FFF2-40B4-BE49-F238E27FC236}">
                <a16:creationId xmlns:a16="http://schemas.microsoft.com/office/drawing/2014/main" id="{DBFD79CA-4650-4F32-BDA5-F14779B5EE55}"/>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3854" y="1324315"/>
            <a:ext cx="2864644" cy="10310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2774" name="Picture 4">
            <a:extLst>
              <a:ext uri="{FF2B5EF4-FFF2-40B4-BE49-F238E27FC236}">
                <a16:creationId xmlns:a16="http://schemas.microsoft.com/office/drawing/2014/main" id="{5A37C1FC-79EF-4CC7-A9F3-2922F01CC8A2}"/>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6449" y="3374360"/>
            <a:ext cx="1676400" cy="11049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2775" name="Picture 2">
            <a:extLst>
              <a:ext uri="{FF2B5EF4-FFF2-40B4-BE49-F238E27FC236}">
                <a16:creationId xmlns:a16="http://schemas.microsoft.com/office/drawing/2014/main" id="{290CA044-9651-4886-A18D-613F01EC91D3}"/>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165503" y="1191826"/>
            <a:ext cx="1375172" cy="7143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2781" name="Retângulo 9">
            <a:extLst>
              <a:ext uri="{FF2B5EF4-FFF2-40B4-BE49-F238E27FC236}">
                <a16:creationId xmlns:a16="http://schemas.microsoft.com/office/drawing/2014/main" id="{DA84179C-013C-42EC-8074-A234D3C03625}"/>
              </a:ext>
            </a:extLst>
          </p:cNvPr>
          <p:cNvSpPr>
            <a:spLocks noChangeArrowheads="1"/>
          </p:cNvSpPr>
          <p:nvPr/>
        </p:nvSpPr>
        <p:spPr bwMode="auto">
          <a:xfrm>
            <a:off x="0" y="359823"/>
            <a:ext cx="9144000" cy="323165"/>
          </a:xfrm>
          <a:prstGeom prst="rect">
            <a:avLst/>
          </a:prstGeom>
          <a:solidFill>
            <a:srgbClr val="C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defTabSz="685800" fontAlgn="base">
              <a:spcBef>
                <a:spcPct val="0"/>
              </a:spcBef>
              <a:spcAft>
                <a:spcPct val="0"/>
              </a:spcAft>
              <a:defRPr/>
            </a:pPr>
            <a:endParaRPr lang="en-US" altLang="en-US" sz="1500" dirty="0">
              <a:solidFill>
                <a:prstClr val="white"/>
              </a:solidFill>
              <a:cs typeface="Arial" panose="020B0604020202020204" pitchFamily="34" charset="0"/>
            </a:endParaRPr>
          </a:p>
        </p:txBody>
      </p:sp>
      <p:graphicFrame>
        <p:nvGraphicFramePr>
          <p:cNvPr id="2" name="Diagram 1">
            <a:extLst>
              <a:ext uri="{FF2B5EF4-FFF2-40B4-BE49-F238E27FC236}">
                <a16:creationId xmlns:a16="http://schemas.microsoft.com/office/drawing/2014/main" id="{A03D684B-12AC-48E7-9A6F-005F7864608C}"/>
              </a:ext>
            </a:extLst>
          </p:cNvPr>
          <p:cNvGraphicFramePr/>
          <p:nvPr/>
        </p:nvGraphicFramePr>
        <p:xfrm>
          <a:off x="1525222" y="961475"/>
          <a:ext cx="6015455" cy="406772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32783" name="TextBox 8">
            <a:extLst>
              <a:ext uri="{FF2B5EF4-FFF2-40B4-BE49-F238E27FC236}">
                <a16:creationId xmlns:a16="http://schemas.microsoft.com/office/drawing/2014/main" id="{57DF75D8-102E-4481-A487-182AFBB7450E}"/>
              </a:ext>
            </a:extLst>
          </p:cNvPr>
          <p:cNvSpPr txBox="1">
            <a:spLocks noChangeArrowheads="1"/>
          </p:cNvSpPr>
          <p:nvPr/>
        </p:nvSpPr>
        <p:spPr bwMode="auto">
          <a:xfrm>
            <a:off x="0" y="4944228"/>
            <a:ext cx="3352800" cy="553998"/>
          </a:xfrm>
          <a:prstGeom prst="rect">
            <a:avLst/>
          </a:prstGeom>
          <a:solidFill>
            <a:srgbClr val="C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defTabSz="685800" fontAlgn="base">
              <a:spcBef>
                <a:spcPct val="0"/>
              </a:spcBef>
              <a:spcAft>
                <a:spcPct val="0"/>
              </a:spcAft>
              <a:defRPr/>
            </a:pPr>
            <a:r>
              <a:rPr lang="en-US" altLang="en-US" sz="3000" b="1" dirty="0">
                <a:solidFill>
                  <a:srgbClr val="FFFF00"/>
                </a:solidFill>
                <a:cs typeface="Arial" panose="020B0604020202020204" pitchFamily="34" charset="0"/>
              </a:rPr>
              <a:t>The Players</a:t>
            </a:r>
          </a:p>
        </p:txBody>
      </p:sp>
      <p:sp>
        <p:nvSpPr>
          <p:cNvPr id="4" name="Slide Number Placeholder 3">
            <a:extLst>
              <a:ext uri="{FF2B5EF4-FFF2-40B4-BE49-F238E27FC236}">
                <a16:creationId xmlns:a16="http://schemas.microsoft.com/office/drawing/2014/main" id="{9133ED8E-F959-423A-A8F8-08ADE7F2CB80}"/>
              </a:ext>
            </a:extLst>
          </p:cNvPr>
          <p:cNvSpPr>
            <a:spLocks noGrp="1"/>
          </p:cNvSpPr>
          <p:nvPr>
            <p:ph type="sldNum" sz="quarter" idx="12"/>
          </p:nvPr>
        </p:nvSpPr>
        <p:spPr/>
        <p:txBody>
          <a:bodyPr/>
          <a:lstStyle>
            <a:lvl1pPr>
              <a:defRPr>
                <a:solidFill>
                  <a:schemeClr val="tx1"/>
                </a:solidFill>
                <a:latin typeface="Calibri" panose="020F0502020204030204" pitchFamily="34" charset="0"/>
              </a:defRPr>
            </a:lvl1pPr>
            <a:lvl2pPr marL="557213" indent="-214313">
              <a:defRPr>
                <a:solidFill>
                  <a:schemeClr val="tx1"/>
                </a:solidFill>
                <a:latin typeface="Calibri" panose="020F0502020204030204" pitchFamily="34" charset="0"/>
              </a:defRPr>
            </a:lvl2pPr>
            <a:lvl3pPr marL="857250" indent="-171450">
              <a:defRPr>
                <a:solidFill>
                  <a:schemeClr val="tx1"/>
                </a:solidFill>
                <a:latin typeface="Calibri" panose="020F0502020204030204" pitchFamily="34" charset="0"/>
              </a:defRPr>
            </a:lvl3pPr>
            <a:lvl4pPr marL="1200150" indent="-171450">
              <a:defRPr>
                <a:solidFill>
                  <a:schemeClr val="tx1"/>
                </a:solidFill>
                <a:latin typeface="Calibri" panose="020F0502020204030204" pitchFamily="34" charset="0"/>
              </a:defRPr>
            </a:lvl4pPr>
            <a:lvl5pPr marL="1543050" indent="-171450">
              <a:defRPr>
                <a:solidFill>
                  <a:schemeClr val="tx1"/>
                </a:solidFill>
                <a:latin typeface="Calibri" panose="020F0502020204030204" pitchFamily="34" charset="0"/>
              </a:defRPr>
            </a:lvl5pPr>
            <a:lvl6pPr marL="1885950" indent="-171450" fontAlgn="base">
              <a:spcBef>
                <a:spcPct val="0"/>
              </a:spcBef>
              <a:spcAft>
                <a:spcPct val="0"/>
              </a:spcAft>
              <a:defRPr>
                <a:solidFill>
                  <a:schemeClr val="tx1"/>
                </a:solidFill>
                <a:latin typeface="Calibri" panose="020F0502020204030204" pitchFamily="34" charset="0"/>
              </a:defRPr>
            </a:lvl6pPr>
            <a:lvl7pPr marL="2228850" indent="-171450" fontAlgn="base">
              <a:spcBef>
                <a:spcPct val="0"/>
              </a:spcBef>
              <a:spcAft>
                <a:spcPct val="0"/>
              </a:spcAft>
              <a:defRPr>
                <a:solidFill>
                  <a:schemeClr val="tx1"/>
                </a:solidFill>
                <a:latin typeface="Calibri" panose="020F0502020204030204" pitchFamily="34" charset="0"/>
              </a:defRPr>
            </a:lvl7pPr>
            <a:lvl8pPr marL="2571750" indent="-171450" fontAlgn="base">
              <a:spcBef>
                <a:spcPct val="0"/>
              </a:spcBef>
              <a:spcAft>
                <a:spcPct val="0"/>
              </a:spcAft>
              <a:defRPr>
                <a:solidFill>
                  <a:schemeClr val="tx1"/>
                </a:solidFill>
                <a:latin typeface="Calibri" panose="020F0502020204030204" pitchFamily="34" charset="0"/>
              </a:defRPr>
            </a:lvl8pPr>
            <a:lvl9pPr marL="2914650" indent="-171450" fontAlgn="base">
              <a:spcBef>
                <a:spcPct val="0"/>
              </a:spcBef>
              <a:spcAft>
                <a:spcPct val="0"/>
              </a:spcAft>
              <a:defRPr>
                <a:solidFill>
                  <a:schemeClr val="tx1"/>
                </a:solidFill>
                <a:latin typeface="Calibri" panose="020F0502020204030204" pitchFamily="34" charset="0"/>
              </a:defRPr>
            </a:lvl9pPr>
          </a:lstStyle>
          <a:p>
            <a:pPr defTabSz="685800" fontAlgn="base">
              <a:spcBef>
                <a:spcPct val="0"/>
              </a:spcBef>
              <a:spcAft>
                <a:spcPct val="0"/>
              </a:spcAft>
              <a:defRPr/>
            </a:pPr>
            <a:fld id="{EA139857-E5E6-48EC-877D-B87131A3AA0C}" type="slidenum">
              <a:rPr lang="pt-PT" altLang="en-US">
                <a:solidFill>
                  <a:srgbClr val="898989"/>
                </a:solidFill>
                <a:cs typeface="Arial" panose="020B0604020202020204" pitchFamily="34" charset="0"/>
              </a:rPr>
              <a:pPr defTabSz="685800" fontAlgn="base">
                <a:spcBef>
                  <a:spcPct val="0"/>
                </a:spcBef>
                <a:spcAft>
                  <a:spcPct val="0"/>
                </a:spcAft>
                <a:defRPr/>
              </a:pPr>
              <a:t>3</a:t>
            </a:fld>
            <a:endParaRPr lang="pt-PT" altLang="en-US">
              <a:solidFill>
                <a:srgbClr val="898989"/>
              </a:solidFill>
              <a:cs typeface="Arial" panose="020B0604020202020204" pitchFamily="34" charset="0"/>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extBox 4">
            <a:extLst>
              <a:ext uri="{FF2B5EF4-FFF2-40B4-BE49-F238E27FC236}">
                <a16:creationId xmlns:a16="http://schemas.microsoft.com/office/drawing/2014/main" id="{97649E32-00D4-4474-BBBC-4E55D2ED9DCC}"/>
              </a:ext>
            </a:extLst>
          </p:cNvPr>
          <p:cNvSpPr txBox="1">
            <a:spLocks noChangeArrowheads="1"/>
          </p:cNvSpPr>
          <p:nvPr/>
        </p:nvSpPr>
        <p:spPr bwMode="auto">
          <a:xfrm>
            <a:off x="8214554" y="1974848"/>
            <a:ext cx="884635" cy="577081"/>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r" defTabSz="685800" fontAlgn="base">
              <a:spcBef>
                <a:spcPct val="0"/>
              </a:spcBef>
              <a:spcAft>
                <a:spcPct val="0"/>
              </a:spcAft>
              <a:defRPr/>
            </a:pPr>
            <a:r>
              <a:rPr lang="en-US" altLang="en-US" sz="1050" b="1" dirty="0">
                <a:solidFill>
                  <a:prstClr val="black"/>
                </a:solidFill>
                <a:cs typeface="Arial" panose="020B0604020202020204" pitchFamily="34" charset="0"/>
              </a:rPr>
              <a:t>MAJ Abraham Young, USA</a:t>
            </a:r>
          </a:p>
        </p:txBody>
      </p:sp>
      <p:pic>
        <p:nvPicPr>
          <p:cNvPr id="32771" name="Picture 10">
            <a:extLst>
              <a:ext uri="{FF2B5EF4-FFF2-40B4-BE49-F238E27FC236}">
                <a16:creationId xmlns:a16="http://schemas.microsoft.com/office/drawing/2014/main" id="{49C9BB09-35FB-4073-AE45-C61C6111736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262813" y="2551927"/>
            <a:ext cx="1809750" cy="10167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2772" name="Picture 8" descr="The Army's current inventory of boots includes seven different styles designed for different environments and climates. The boots issued initially to recruits are the Hot Weather and Temperate Weather Army Combat Boots. (David Kamm/Army)">
            <a:extLst>
              <a:ext uri="{FF2B5EF4-FFF2-40B4-BE49-F238E27FC236}">
                <a16:creationId xmlns:a16="http://schemas.microsoft.com/office/drawing/2014/main" id="{9C450B2C-E30D-4EA9-94E0-600C8B310FB2}"/>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958935" y="3879078"/>
            <a:ext cx="1993106" cy="1614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773" name="Picture 5">
            <a:extLst>
              <a:ext uri="{FF2B5EF4-FFF2-40B4-BE49-F238E27FC236}">
                <a16:creationId xmlns:a16="http://schemas.microsoft.com/office/drawing/2014/main" id="{DBFD79CA-4650-4F32-BDA5-F14779B5EE55}"/>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13854" y="1324315"/>
            <a:ext cx="2864644" cy="10310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2774" name="Picture 4">
            <a:extLst>
              <a:ext uri="{FF2B5EF4-FFF2-40B4-BE49-F238E27FC236}">
                <a16:creationId xmlns:a16="http://schemas.microsoft.com/office/drawing/2014/main" id="{5A37C1FC-79EF-4CC7-A9F3-2922F01CC8A2}"/>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6449" y="3374360"/>
            <a:ext cx="1676400" cy="11049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2775" name="Picture 2">
            <a:extLst>
              <a:ext uri="{FF2B5EF4-FFF2-40B4-BE49-F238E27FC236}">
                <a16:creationId xmlns:a16="http://schemas.microsoft.com/office/drawing/2014/main" id="{290CA044-9651-4886-A18D-613F01EC91D3}"/>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165503" y="1191826"/>
            <a:ext cx="1375172" cy="7143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2781" name="Retângulo 9">
            <a:extLst>
              <a:ext uri="{FF2B5EF4-FFF2-40B4-BE49-F238E27FC236}">
                <a16:creationId xmlns:a16="http://schemas.microsoft.com/office/drawing/2014/main" id="{DA84179C-013C-42EC-8074-A234D3C03625}"/>
              </a:ext>
            </a:extLst>
          </p:cNvPr>
          <p:cNvSpPr>
            <a:spLocks noChangeArrowheads="1"/>
          </p:cNvSpPr>
          <p:nvPr/>
        </p:nvSpPr>
        <p:spPr bwMode="auto">
          <a:xfrm>
            <a:off x="0" y="359823"/>
            <a:ext cx="9144000" cy="323165"/>
          </a:xfrm>
          <a:prstGeom prst="rect">
            <a:avLst/>
          </a:prstGeom>
          <a:solidFill>
            <a:srgbClr val="C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defTabSz="685800" fontAlgn="base">
              <a:spcBef>
                <a:spcPct val="0"/>
              </a:spcBef>
              <a:spcAft>
                <a:spcPct val="0"/>
              </a:spcAft>
              <a:defRPr/>
            </a:pPr>
            <a:endParaRPr lang="en-US" altLang="en-US" sz="1500" dirty="0">
              <a:solidFill>
                <a:prstClr val="white"/>
              </a:solidFill>
              <a:cs typeface="Arial" panose="020B0604020202020204" pitchFamily="34" charset="0"/>
            </a:endParaRPr>
          </a:p>
        </p:txBody>
      </p:sp>
      <p:graphicFrame>
        <p:nvGraphicFramePr>
          <p:cNvPr id="2" name="Diagram 1">
            <a:extLst>
              <a:ext uri="{FF2B5EF4-FFF2-40B4-BE49-F238E27FC236}">
                <a16:creationId xmlns:a16="http://schemas.microsoft.com/office/drawing/2014/main" id="{A03D684B-12AC-48E7-9A6F-005F7864608C}"/>
              </a:ext>
            </a:extLst>
          </p:cNvPr>
          <p:cNvGraphicFramePr/>
          <p:nvPr/>
        </p:nvGraphicFramePr>
        <p:xfrm>
          <a:off x="1525222" y="961475"/>
          <a:ext cx="6015455" cy="4067727"/>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32783" name="TextBox 8">
            <a:extLst>
              <a:ext uri="{FF2B5EF4-FFF2-40B4-BE49-F238E27FC236}">
                <a16:creationId xmlns:a16="http://schemas.microsoft.com/office/drawing/2014/main" id="{57DF75D8-102E-4481-A487-182AFBB7450E}"/>
              </a:ext>
            </a:extLst>
          </p:cNvPr>
          <p:cNvSpPr txBox="1">
            <a:spLocks noChangeArrowheads="1"/>
          </p:cNvSpPr>
          <p:nvPr/>
        </p:nvSpPr>
        <p:spPr bwMode="auto">
          <a:xfrm>
            <a:off x="0" y="4944228"/>
            <a:ext cx="3352800" cy="553998"/>
          </a:xfrm>
          <a:prstGeom prst="rect">
            <a:avLst/>
          </a:prstGeom>
          <a:solidFill>
            <a:srgbClr val="C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defTabSz="685800" fontAlgn="base">
              <a:spcBef>
                <a:spcPct val="0"/>
              </a:spcBef>
              <a:spcAft>
                <a:spcPct val="0"/>
              </a:spcAft>
              <a:defRPr/>
            </a:pPr>
            <a:r>
              <a:rPr lang="en-US" altLang="en-US" sz="3000" b="1" dirty="0">
                <a:solidFill>
                  <a:srgbClr val="FFFF00"/>
                </a:solidFill>
                <a:cs typeface="Arial" panose="020B0604020202020204" pitchFamily="34" charset="0"/>
              </a:rPr>
              <a:t>The Problems</a:t>
            </a:r>
          </a:p>
        </p:txBody>
      </p:sp>
      <p:sp>
        <p:nvSpPr>
          <p:cNvPr id="4" name="Slide Number Placeholder 3">
            <a:extLst>
              <a:ext uri="{FF2B5EF4-FFF2-40B4-BE49-F238E27FC236}">
                <a16:creationId xmlns:a16="http://schemas.microsoft.com/office/drawing/2014/main" id="{9133ED8E-F959-423A-A8F8-08ADE7F2CB80}"/>
              </a:ext>
            </a:extLst>
          </p:cNvPr>
          <p:cNvSpPr>
            <a:spLocks noGrp="1"/>
          </p:cNvSpPr>
          <p:nvPr>
            <p:ph type="sldNum" sz="quarter" idx="12"/>
          </p:nvPr>
        </p:nvSpPr>
        <p:spPr/>
        <p:txBody>
          <a:bodyPr/>
          <a:lstStyle>
            <a:lvl1pPr>
              <a:defRPr>
                <a:solidFill>
                  <a:schemeClr val="tx1"/>
                </a:solidFill>
                <a:latin typeface="Calibri" panose="020F0502020204030204" pitchFamily="34" charset="0"/>
              </a:defRPr>
            </a:lvl1pPr>
            <a:lvl2pPr marL="557213" indent="-214313">
              <a:defRPr>
                <a:solidFill>
                  <a:schemeClr val="tx1"/>
                </a:solidFill>
                <a:latin typeface="Calibri" panose="020F0502020204030204" pitchFamily="34" charset="0"/>
              </a:defRPr>
            </a:lvl2pPr>
            <a:lvl3pPr marL="857250" indent="-171450">
              <a:defRPr>
                <a:solidFill>
                  <a:schemeClr val="tx1"/>
                </a:solidFill>
                <a:latin typeface="Calibri" panose="020F0502020204030204" pitchFamily="34" charset="0"/>
              </a:defRPr>
            </a:lvl3pPr>
            <a:lvl4pPr marL="1200150" indent="-171450">
              <a:defRPr>
                <a:solidFill>
                  <a:schemeClr val="tx1"/>
                </a:solidFill>
                <a:latin typeface="Calibri" panose="020F0502020204030204" pitchFamily="34" charset="0"/>
              </a:defRPr>
            </a:lvl4pPr>
            <a:lvl5pPr marL="1543050" indent="-171450">
              <a:defRPr>
                <a:solidFill>
                  <a:schemeClr val="tx1"/>
                </a:solidFill>
                <a:latin typeface="Calibri" panose="020F0502020204030204" pitchFamily="34" charset="0"/>
              </a:defRPr>
            </a:lvl5pPr>
            <a:lvl6pPr marL="1885950" indent="-171450" fontAlgn="base">
              <a:spcBef>
                <a:spcPct val="0"/>
              </a:spcBef>
              <a:spcAft>
                <a:spcPct val="0"/>
              </a:spcAft>
              <a:defRPr>
                <a:solidFill>
                  <a:schemeClr val="tx1"/>
                </a:solidFill>
                <a:latin typeface="Calibri" panose="020F0502020204030204" pitchFamily="34" charset="0"/>
              </a:defRPr>
            </a:lvl6pPr>
            <a:lvl7pPr marL="2228850" indent="-171450" fontAlgn="base">
              <a:spcBef>
                <a:spcPct val="0"/>
              </a:spcBef>
              <a:spcAft>
                <a:spcPct val="0"/>
              </a:spcAft>
              <a:defRPr>
                <a:solidFill>
                  <a:schemeClr val="tx1"/>
                </a:solidFill>
                <a:latin typeface="Calibri" panose="020F0502020204030204" pitchFamily="34" charset="0"/>
              </a:defRPr>
            </a:lvl7pPr>
            <a:lvl8pPr marL="2571750" indent="-171450" fontAlgn="base">
              <a:spcBef>
                <a:spcPct val="0"/>
              </a:spcBef>
              <a:spcAft>
                <a:spcPct val="0"/>
              </a:spcAft>
              <a:defRPr>
                <a:solidFill>
                  <a:schemeClr val="tx1"/>
                </a:solidFill>
                <a:latin typeface="Calibri" panose="020F0502020204030204" pitchFamily="34" charset="0"/>
              </a:defRPr>
            </a:lvl8pPr>
            <a:lvl9pPr marL="2914650" indent="-171450" fontAlgn="base">
              <a:spcBef>
                <a:spcPct val="0"/>
              </a:spcBef>
              <a:spcAft>
                <a:spcPct val="0"/>
              </a:spcAft>
              <a:defRPr>
                <a:solidFill>
                  <a:schemeClr val="tx1"/>
                </a:solidFill>
                <a:latin typeface="Calibri" panose="020F0502020204030204" pitchFamily="34" charset="0"/>
              </a:defRPr>
            </a:lvl9pPr>
          </a:lstStyle>
          <a:p>
            <a:pPr defTabSz="685800" fontAlgn="base">
              <a:spcBef>
                <a:spcPct val="0"/>
              </a:spcBef>
              <a:spcAft>
                <a:spcPct val="0"/>
              </a:spcAft>
              <a:defRPr/>
            </a:pPr>
            <a:fld id="{EA139857-E5E6-48EC-877D-B87131A3AA0C}" type="slidenum">
              <a:rPr lang="pt-PT" altLang="en-US">
                <a:solidFill>
                  <a:srgbClr val="898989"/>
                </a:solidFill>
                <a:cs typeface="Arial" panose="020B0604020202020204" pitchFamily="34" charset="0"/>
              </a:rPr>
              <a:pPr defTabSz="685800" fontAlgn="base">
                <a:spcBef>
                  <a:spcPct val="0"/>
                </a:spcBef>
                <a:spcAft>
                  <a:spcPct val="0"/>
                </a:spcAft>
                <a:defRPr/>
              </a:pPr>
              <a:t>4</a:t>
            </a:fld>
            <a:endParaRPr lang="pt-PT" altLang="en-US">
              <a:solidFill>
                <a:srgbClr val="898989"/>
              </a:solidFill>
              <a:cs typeface="Arial" panose="020B0604020202020204" pitchFamily="34" charset="0"/>
            </a:endParaRPr>
          </a:p>
        </p:txBody>
      </p:sp>
      <p:sp>
        <p:nvSpPr>
          <p:cNvPr id="3" name="Callout: Up Arrow 2">
            <a:extLst>
              <a:ext uri="{FF2B5EF4-FFF2-40B4-BE49-F238E27FC236}">
                <a16:creationId xmlns:a16="http://schemas.microsoft.com/office/drawing/2014/main" id="{77BA7038-B944-4465-B1C8-66287474E879}"/>
              </a:ext>
            </a:extLst>
          </p:cNvPr>
          <p:cNvSpPr/>
          <p:nvPr/>
        </p:nvSpPr>
        <p:spPr>
          <a:xfrm>
            <a:off x="-137206" y="4951804"/>
            <a:ext cx="6980012" cy="1906197"/>
          </a:xfrm>
          <a:prstGeom prst="upArrowCallou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r>
              <a:rPr lang="en-US" dirty="0">
                <a:solidFill>
                  <a:prstClr val="white"/>
                </a:solidFill>
                <a:latin typeface="Calibri" panose="020F0502020204030204"/>
              </a:rPr>
              <a:t>Vendor data – bid challenges – transparency –</a:t>
            </a:r>
          </a:p>
          <a:p>
            <a:pPr algn="ctr" fontAlgn="base">
              <a:spcBef>
                <a:spcPct val="0"/>
              </a:spcBef>
              <a:spcAft>
                <a:spcPct val="0"/>
              </a:spcAft>
              <a:defRPr/>
            </a:pPr>
            <a:r>
              <a:rPr lang="en-US" dirty="0">
                <a:solidFill>
                  <a:prstClr val="white"/>
                </a:solidFill>
                <a:latin typeface="Calibri" panose="020F0502020204030204"/>
              </a:rPr>
              <a:t>competition -- socioeconomic goals (including Buy American) – no- standards security review -- fee to GSA – Most Favored Customer pricing</a:t>
            </a:r>
          </a:p>
        </p:txBody>
      </p:sp>
    </p:spTree>
    <p:extLst>
      <p:ext uri="{BB962C8B-B14F-4D97-AF65-F5344CB8AC3E}">
        <p14:creationId xmlns:p14="http://schemas.microsoft.com/office/powerpoint/2010/main" val="6923105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3F69D3-D017-457E-BCBD-5C4CEAA481A6}"/>
              </a:ext>
            </a:extLst>
          </p:cNvPr>
          <p:cNvSpPr>
            <a:spLocks noGrp="1"/>
          </p:cNvSpPr>
          <p:nvPr>
            <p:ph type="title"/>
          </p:nvPr>
        </p:nvSpPr>
        <p:spPr/>
        <p:txBody>
          <a:bodyPr/>
          <a:lstStyle/>
          <a:p>
            <a:r>
              <a:rPr lang="en-US" dirty="0"/>
              <a:t>Context:  International Procurement </a:t>
            </a:r>
          </a:p>
        </p:txBody>
      </p:sp>
      <p:sp>
        <p:nvSpPr>
          <p:cNvPr id="6" name="Text Placeholder 5">
            <a:extLst>
              <a:ext uri="{FF2B5EF4-FFF2-40B4-BE49-F238E27FC236}">
                <a16:creationId xmlns:a16="http://schemas.microsoft.com/office/drawing/2014/main" id="{3D6579C5-027B-440B-84AA-B530FC3CC2AA}"/>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997FB206-70AF-4EE0-9D0B-217A88AF2ED8}"/>
              </a:ext>
            </a:extLst>
          </p:cNvPr>
          <p:cNvSpPr>
            <a:spLocks noGrp="1"/>
          </p:cNvSpPr>
          <p:nvPr>
            <p:ph type="sldNum" sz="quarter" idx="12"/>
          </p:nvPr>
        </p:nvSpPr>
        <p:spPr/>
        <p:txBody>
          <a:bodyPr/>
          <a:lstStyle/>
          <a:p>
            <a:pPr fontAlgn="base">
              <a:spcBef>
                <a:spcPct val="0"/>
              </a:spcBef>
              <a:spcAft>
                <a:spcPct val="0"/>
              </a:spcAft>
            </a:pPr>
            <a:fld id="{C1ED66D3-4DB5-4377-8E43-185A1BD0C710}" type="slidenum">
              <a:rPr lang="pt-PT" altLang="en-US">
                <a:cs typeface="Arial" panose="020B0604020202020204" pitchFamily="34" charset="0"/>
              </a:rPr>
              <a:pPr fontAlgn="base">
                <a:spcBef>
                  <a:spcPct val="0"/>
                </a:spcBef>
                <a:spcAft>
                  <a:spcPct val="0"/>
                </a:spcAft>
              </a:pPr>
              <a:t>5</a:t>
            </a:fld>
            <a:endParaRPr lang="pt-PT" altLang="en-US">
              <a:cs typeface="Arial" panose="020B0604020202020204" pitchFamily="34" charset="0"/>
            </a:endParaRPr>
          </a:p>
        </p:txBody>
      </p:sp>
    </p:spTree>
    <p:extLst>
      <p:ext uri="{BB962C8B-B14F-4D97-AF65-F5344CB8AC3E}">
        <p14:creationId xmlns:p14="http://schemas.microsoft.com/office/powerpoint/2010/main" val="42557422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7282" name="Picture 2">
            <a:extLst>
              <a:ext uri="{FF2B5EF4-FFF2-40B4-BE49-F238E27FC236}">
                <a16:creationId xmlns:a16="http://schemas.microsoft.com/office/drawing/2014/main" id="{CD9580A2-1BD4-410C-B3E6-090218503EF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t="-6435" b="-6435"/>
          <a:stretch>
            <a:fillRect/>
          </a:stretch>
        </p:blipFill>
        <p:spPr bwMode="auto">
          <a:xfrm>
            <a:off x="228600" y="-152400"/>
            <a:ext cx="7772400" cy="48069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7283" name="TextBox 3">
            <a:extLst>
              <a:ext uri="{FF2B5EF4-FFF2-40B4-BE49-F238E27FC236}">
                <a16:creationId xmlns:a16="http://schemas.microsoft.com/office/drawing/2014/main" id="{23A4F944-0FD1-4C05-B9B6-9B7332A24330}"/>
              </a:ext>
            </a:extLst>
          </p:cNvPr>
          <p:cNvSpPr txBox="1">
            <a:spLocks noChangeArrowheads="1"/>
          </p:cNvSpPr>
          <p:nvPr/>
        </p:nvSpPr>
        <p:spPr bwMode="auto">
          <a:xfrm>
            <a:off x="2533650" y="3810002"/>
            <a:ext cx="6457950" cy="2862263"/>
          </a:xfrm>
          <a:prstGeom prst="rect">
            <a:avLst/>
          </a:prstGeom>
          <a:solidFill>
            <a:srgbClr val="00206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fontAlgn="base">
              <a:spcBef>
                <a:spcPct val="0"/>
              </a:spcBef>
              <a:spcAft>
                <a:spcPct val="0"/>
              </a:spcAft>
              <a:buClrTx/>
              <a:buSzTx/>
              <a:buNone/>
            </a:pPr>
            <a:r>
              <a:rPr lang="en-US" altLang="en-US" sz="2000" b="1">
                <a:solidFill>
                  <a:prstClr val="black"/>
                </a:solidFill>
                <a:latin typeface="Calibri" panose="020F0502020204030204" pitchFamily="34" charset="0"/>
                <a:cs typeface="Arial" panose="020B0604020202020204" pitchFamily="34" charset="0"/>
              </a:rPr>
              <a:t>“At the EU level, it is estimated that import penetration in the private sector is about 10% higher than in the public sector. . . .  There is no consistent indication of a domestic bias in public purchasing despite . . . the fact that overall import penetration in private purchasing is significantly higher than for the public sector.  </a:t>
            </a:r>
            <a:r>
              <a:rPr lang="en-US" altLang="en-US" sz="2000" b="1" u="sng">
                <a:solidFill>
                  <a:prstClr val="black"/>
                </a:solidFill>
                <a:latin typeface="Calibri" panose="020F0502020204030204" pitchFamily="34" charset="0"/>
                <a:cs typeface="Arial" panose="020B0604020202020204" pitchFamily="34" charset="0"/>
              </a:rPr>
              <a:t>Higher import penetration in private sector purchasing appears to a large extent to be explained by the significant differences in the composition of purchases between the two groups.”</a:t>
            </a:r>
          </a:p>
        </p:txBody>
      </p:sp>
      <p:sp>
        <p:nvSpPr>
          <p:cNvPr id="97284" name="TextBox 4">
            <a:extLst>
              <a:ext uri="{FF2B5EF4-FFF2-40B4-BE49-F238E27FC236}">
                <a16:creationId xmlns:a16="http://schemas.microsoft.com/office/drawing/2014/main" id="{FE6E15F9-7425-4AD6-BDA2-9186FCD679BC}"/>
              </a:ext>
            </a:extLst>
          </p:cNvPr>
          <p:cNvSpPr txBox="1">
            <a:spLocks noChangeArrowheads="1"/>
          </p:cNvSpPr>
          <p:nvPr/>
        </p:nvSpPr>
        <p:spPr bwMode="auto">
          <a:xfrm>
            <a:off x="5791200" y="762002"/>
            <a:ext cx="3067050" cy="1477963"/>
          </a:xfrm>
          <a:prstGeom prst="rect">
            <a:avLst/>
          </a:prstGeom>
          <a:solidFill>
            <a:srgbClr val="00206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fontAlgn="base">
              <a:spcBef>
                <a:spcPct val="0"/>
              </a:spcBef>
              <a:spcAft>
                <a:spcPct val="0"/>
              </a:spcAft>
              <a:buClrTx/>
              <a:buSzTx/>
              <a:buNone/>
            </a:pPr>
            <a:r>
              <a:rPr lang="en-US" altLang="en-US" sz="1800">
                <a:solidFill>
                  <a:prstClr val="black"/>
                </a:solidFill>
                <a:latin typeface="Calibri" panose="020F0502020204030204" pitchFamily="34" charset="0"/>
                <a:cs typeface="Arial" panose="020B0604020202020204" pitchFamily="34" charset="0"/>
              </a:rPr>
              <a:t>“ . . . the direct cross-border share in the number of awards </a:t>
            </a:r>
            <a:r>
              <a:rPr lang="en-US" altLang="en-US" sz="1800" b="1">
                <a:solidFill>
                  <a:srgbClr val="FFFF00"/>
                </a:solidFill>
                <a:latin typeface="Calibri" panose="020F0502020204030204" pitchFamily="34" charset="0"/>
                <a:cs typeface="Arial" panose="020B0604020202020204" pitchFamily="34" charset="0"/>
              </a:rPr>
              <a:t>remained under 5% </a:t>
            </a:r>
            <a:r>
              <a:rPr lang="en-US" altLang="en-US" sz="1800">
                <a:solidFill>
                  <a:prstClr val="black"/>
                </a:solidFill>
                <a:latin typeface="Calibri" panose="020F0502020204030204" pitchFamily="34" charset="0"/>
                <a:cs typeface="Arial" panose="020B0604020202020204" pitchFamily="34" charset="0"/>
              </a:rPr>
              <a:t>in the majority of EU28 Member States.” </a:t>
            </a:r>
          </a:p>
        </p:txBody>
      </p:sp>
      <p:pic>
        <p:nvPicPr>
          <p:cNvPr id="97285" name="Picture 2">
            <a:extLst>
              <a:ext uri="{FF2B5EF4-FFF2-40B4-BE49-F238E27FC236}">
                <a16:creationId xmlns:a16="http://schemas.microsoft.com/office/drawing/2014/main" id="{D29B94F5-3483-4D82-8FB9-85CB5ACBE66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6388" y="1827215"/>
            <a:ext cx="8532812" cy="4497387"/>
          </a:xfrm>
          <a:prstGeom prst="rect">
            <a:avLst/>
          </a:prstGeom>
          <a:noFill/>
          <a:ln w="241300">
            <a:solidFill>
              <a:srgbClr val="FF0000"/>
            </a:solidFill>
            <a:miter lim="800000"/>
            <a:headEnd/>
            <a:tailEnd/>
          </a:ln>
          <a:extLst>
            <a:ext uri="{909E8E84-426E-40DD-AFC4-6F175D3DCCD1}">
              <a14:hiddenFill xmlns:a14="http://schemas.microsoft.com/office/drawing/2010/main">
                <a:solidFill>
                  <a:schemeClr val="accent1"/>
                </a:solidFill>
              </a14:hiddenFill>
            </a:ext>
          </a:extLst>
        </p:spPr>
      </p:pic>
      <p:sp>
        <p:nvSpPr>
          <p:cNvPr id="2" name="Down Arrow 1">
            <a:extLst>
              <a:ext uri="{FF2B5EF4-FFF2-40B4-BE49-F238E27FC236}">
                <a16:creationId xmlns:a16="http://schemas.microsoft.com/office/drawing/2014/main" id="{5998689F-B9C8-48A1-AAEB-B66F85DF3EB2}"/>
              </a:ext>
            </a:extLst>
          </p:cNvPr>
          <p:cNvSpPr/>
          <p:nvPr/>
        </p:nvSpPr>
        <p:spPr>
          <a:xfrm>
            <a:off x="7848600" y="1500188"/>
            <a:ext cx="609600" cy="1090612"/>
          </a:xfrm>
          <a:prstGeom prst="downArrow">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latin typeface="Perpetua"/>
            </a:endParaRPr>
          </a:p>
        </p:txBody>
      </p:sp>
      <p:sp>
        <p:nvSpPr>
          <p:cNvPr id="7" name="Down Arrow 6">
            <a:extLst>
              <a:ext uri="{FF2B5EF4-FFF2-40B4-BE49-F238E27FC236}">
                <a16:creationId xmlns:a16="http://schemas.microsoft.com/office/drawing/2014/main" id="{6366A606-3D2E-481B-A815-9444744268B4}"/>
              </a:ext>
            </a:extLst>
          </p:cNvPr>
          <p:cNvSpPr/>
          <p:nvPr/>
        </p:nvSpPr>
        <p:spPr>
          <a:xfrm>
            <a:off x="6715125" y="1500188"/>
            <a:ext cx="609600" cy="1090612"/>
          </a:xfrm>
          <a:prstGeom prst="downArrow">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latin typeface="Perpetua"/>
            </a:endParaRPr>
          </a:p>
        </p:txBody>
      </p:sp>
      <p:sp>
        <p:nvSpPr>
          <p:cNvPr id="3" name="Slide Number Placeholder 2">
            <a:extLst>
              <a:ext uri="{FF2B5EF4-FFF2-40B4-BE49-F238E27FC236}">
                <a16:creationId xmlns:a16="http://schemas.microsoft.com/office/drawing/2014/main" id="{F4F31D59-55C3-45E5-BD05-A1F5A60BDB40}"/>
              </a:ext>
            </a:extLst>
          </p:cNvPr>
          <p:cNvSpPr>
            <a:spLocks noGrp="1"/>
          </p:cNvSpPr>
          <p:nvPr>
            <p:ph type="sldNum" sz="quarter" idx="12"/>
          </p:nvPr>
        </p:nvSpPr>
        <p:spPr/>
        <p:txBody>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fontAlgn="base">
              <a:spcBef>
                <a:spcPct val="0"/>
              </a:spcBef>
              <a:spcAft>
                <a:spcPct val="0"/>
              </a:spcAft>
            </a:pPr>
            <a:fld id="{5C71BDD2-E8C9-4C1D-8EC1-FFBC4EF9D2F0}" type="slidenum">
              <a:rPr lang="en-US" altLang="en-US">
                <a:solidFill>
                  <a:srgbClr val="FFFFFF"/>
                </a:solidFill>
                <a:latin typeface="Franklin Gothic Book" panose="020B0503020102020204" pitchFamily="34" charset="0"/>
                <a:cs typeface="Arial" panose="020B0604020202020204" pitchFamily="34" charset="0"/>
              </a:rPr>
              <a:pPr fontAlgn="base">
                <a:spcBef>
                  <a:spcPct val="0"/>
                </a:spcBef>
                <a:spcAft>
                  <a:spcPct val="0"/>
                </a:spcAft>
              </a:pPr>
              <a:t>6</a:t>
            </a:fld>
            <a:endParaRPr lang="en-US" altLang="en-US">
              <a:solidFill>
                <a:srgbClr val="FFFFFF"/>
              </a:solidFill>
              <a:latin typeface="Franklin Gothic Book" panose="020B0503020102020204" pitchFamily="34" charset="0"/>
              <a:cs typeface="Arial" panose="020B0604020202020204" pitchFamily="34" charset="0"/>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8306" name="Picture 2">
            <a:extLst>
              <a:ext uri="{FF2B5EF4-FFF2-40B4-BE49-F238E27FC236}">
                <a16:creationId xmlns:a16="http://schemas.microsoft.com/office/drawing/2014/main" id="{A1A1582B-5EDB-4CA5-A07B-5E7998BCF3D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9052"/>
            <a:ext cx="6400800" cy="68040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8307" name="TextBox 1">
            <a:extLst>
              <a:ext uri="{FF2B5EF4-FFF2-40B4-BE49-F238E27FC236}">
                <a16:creationId xmlns:a16="http://schemas.microsoft.com/office/drawing/2014/main" id="{0C64E795-420D-4B8B-9D6D-A77527FC2526}"/>
              </a:ext>
            </a:extLst>
          </p:cNvPr>
          <p:cNvSpPr txBox="1">
            <a:spLocks noChangeArrowheads="1"/>
          </p:cNvSpPr>
          <p:nvPr/>
        </p:nvSpPr>
        <p:spPr bwMode="auto">
          <a:xfrm>
            <a:off x="6629400" y="1371600"/>
            <a:ext cx="1828800" cy="4400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fontAlgn="base">
              <a:spcBef>
                <a:spcPct val="0"/>
              </a:spcBef>
              <a:spcAft>
                <a:spcPct val="0"/>
              </a:spcAft>
              <a:buClrTx/>
              <a:buSzTx/>
              <a:buNone/>
            </a:pPr>
            <a:r>
              <a:rPr lang="en-US" altLang="en-US" sz="2800" b="1">
                <a:solidFill>
                  <a:prstClr val="black"/>
                </a:solidFill>
                <a:latin typeface="Calibri" panose="020F0502020204030204" pitchFamily="34" charset="0"/>
                <a:cs typeface="Arial" panose="020B0604020202020204" pitchFamily="34" charset="0"/>
              </a:rPr>
              <a:t>U.S. has largest shares of indirect cross-border awards in the European Union</a:t>
            </a:r>
          </a:p>
        </p:txBody>
      </p:sp>
      <p:sp>
        <p:nvSpPr>
          <p:cNvPr id="2" name="Slide Number Placeholder 1">
            <a:extLst>
              <a:ext uri="{FF2B5EF4-FFF2-40B4-BE49-F238E27FC236}">
                <a16:creationId xmlns:a16="http://schemas.microsoft.com/office/drawing/2014/main" id="{1C707829-FCF8-4D97-B379-2CCE36311E38}"/>
              </a:ext>
            </a:extLst>
          </p:cNvPr>
          <p:cNvSpPr>
            <a:spLocks noGrp="1"/>
          </p:cNvSpPr>
          <p:nvPr>
            <p:ph type="sldNum" sz="quarter" idx="12"/>
          </p:nvPr>
        </p:nvSpPr>
        <p:spPr/>
        <p:txBody>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fontAlgn="base">
              <a:spcBef>
                <a:spcPct val="0"/>
              </a:spcBef>
              <a:spcAft>
                <a:spcPct val="0"/>
              </a:spcAft>
            </a:pPr>
            <a:fld id="{70B22BE6-87E6-4B64-B87E-222FC3836896}" type="slidenum">
              <a:rPr lang="en-US" altLang="en-US">
                <a:solidFill>
                  <a:srgbClr val="FFFFFF"/>
                </a:solidFill>
                <a:latin typeface="Franklin Gothic Book" panose="020B0503020102020204" pitchFamily="34" charset="0"/>
                <a:cs typeface="Arial" panose="020B0604020202020204" pitchFamily="34" charset="0"/>
              </a:rPr>
              <a:pPr fontAlgn="base">
                <a:spcBef>
                  <a:spcPct val="0"/>
                </a:spcBef>
                <a:spcAft>
                  <a:spcPct val="0"/>
                </a:spcAft>
              </a:pPr>
              <a:t>7</a:t>
            </a:fld>
            <a:endParaRPr lang="en-US" altLang="en-US">
              <a:solidFill>
                <a:srgbClr val="FFFFFF"/>
              </a:solidFill>
              <a:latin typeface="Franklin Gothic Book" panose="020B0503020102020204" pitchFamily="34" charset="0"/>
              <a:cs typeface="Arial" panose="020B0604020202020204" pitchFamily="34" charset="0"/>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9330" name="Picture 2">
            <a:extLst>
              <a:ext uri="{FF2B5EF4-FFF2-40B4-BE49-F238E27FC236}">
                <a16:creationId xmlns:a16="http://schemas.microsoft.com/office/drawing/2014/main" id="{06756AA5-6BB3-47DA-B857-C9553A9D076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152" y="38100"/>
            <a:ext cx="9013825" cy="6667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Oval 1">
            <a:extLst>
              <a:ext uri="{FF2B5EF4-FFF2-40B4-BE49-F238E27FC236}">
                <a16:creationId xmlns:a16="http://schemas.microsoft.com/office/drawing/2014/main" id="{EC54CB00-8D36-4908-BB4F-D8AEEBE7E979}"/>
              </a:ext>
            </a:extLst>
          </p:cNvPr>
          <p:cNvSpPr/>
          <p:nvPr/>
        </p:nvSpPr>
        <p:spPr>
          <a:xfrm>
            <a:off x="228600" y="2590800"/>
            <a:ext cx="3276600" cy="91440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latin typeface="Perpetua"/>
            </a:endParaRPr>
          </a:p>
        </p:txBody>
      </p:sp>
      <p:sp>
        <p:nvSpPr>
          <p:cNvPr id="5" name="Oval 4">
            <a:extLst>
              <a:ext uri="{FF2B5EF4-FFF2-40B4-BE49-F238E27FC236}">
                <a16:creationId xmlns:a16="http://schemas.microsoft.com/office/drawing/2014/main" id="{14E12F85-42C9-459D-B908-24391CFD6CE7}"/>
              </a:ext>
            </a:extLst>
          </p:cNvPr>
          <p:cNvSpPr/>
          <p:nvPr/>
        </p:nvSpPr>
        <p:spPr>
          <a:xfrm>
            <a:off x="228600" y="5791200"/>
            <a:ext cx="3276600" cy="91440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latin typeface="Perpetua"/>
            </a:endParaRPr>
          </a:p>
        </p:txBody>
      </p:sp>
      <p:sp>
        <p:nvSpPr>
          <p:cNvPr id="6" name="Oval 5">
            <a:extLst>
              <a:ext uri="{FF2B5EF4-FFF2-40B4-BE49-F238E27FC236}">
                <a16:creationId xmlns:a16="http://schemas.microsoft.com/office/drawing/2014/main" id="{150374D1-F4D5-4348-93B6-6822CFB4CC9C}"/>
              </a:ext>
            </a:extLst>
          </p:cNvPr>
          <p:cNvSpPr/>
          <p:nvPr/>
        </p:nvSpPr>
        <p:spPr>
          <a:xfrm>
            <a:off x="5867400" y="5848350"/>
            <a:ext cx="3276600" cy="91440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prstClr val="white"/>
              </a:solidFill>
              <a:latin typeface="Perpetua"/>
            </a:endParaRPr>
          </a:p>
        </p:txBody>
      </p:sp>
      <p:sp>
        <p:nvSpPr>
          <p:cNvPr id="3" name="Slide Number Placeholder 2">
            <a:extLst>
              <a:ext uri="{FF2B5EF4-FFF2-40B4-BE49-F238E27FC236}">
                <a16:creationId xmlns:a16="http://schemas.microsoft.com/office/drawing/2014/main" id="{01E7DB1D-BB5F-450E-802C-A6F8F45D3101}"/>
              </a:ext>
            </a:extLst>
          </p:cNvPr>
          <p:cNvSpPr>
            <a:spLocks noGrp="1"/>
          </p:cNvSpPr>
          <p:nvPr>
            <p:ph type="sldNum" sz="quarter" idx="12"/>
          </p:nvPr>
        </p:nvSpPr>
        <p:spPr/>
        <p:txBody>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fontAlgn="base">
              <a:spcBef>
                <a:spcPct val="0"/>
              </a:spcBef>
              <a:spcAft>
                <a:spcPct val="0"/>
              </a:spcAft>
            </a:pPr>
            <a:fld id="{E243CD99-3777-4CF1-BDFB-8011FB8B0600}" type="slidenum">
              <a:rPr lang="en-US" altLang="en-US">
                <a:solidFill>
                  <a:srgbClr val="FFFFFF"/>
                </a:solidFill>
                <a:latin typeface="Franklin Gothic Book" panose="020B0503020102020204" pitchFamily="34" charset="0"/>
                <a:cs typeface="Arial" panose="020B0604020202020204" pitchFamily="34" charset="0"/>
              </a:rPr>
              <a:pPr fontAlgn="base">
                <a:spcBef>
                  <a:spcPct val="0"/>
                </a:spcBef>
                <a:spcAft>
                  <a:spcPct val="0"/>
                </a:spcAft>
              </a:pPr>
              <a:t>8</a:t>
            </a:fld>
            <a:endParaRPr lang="en-US" altLang="en-US">
              <a:solidFill>
                <a:srgbClr val="FFFFFF"/>
              </a:solidFill>
              <a:latin typeface="Franklin Gothic Book" panose="020B0503020102020204" pitchFamily="34" charset="0"/>
              <a:cs typeface="Arial" panose="020B0604020202020204" pitchFamily="34" charset="0"/>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6C6B37-D0C8-4AB5-9DE8-99BEF91BA682}"/>
              </a:ext>
            </a:extLst>
          </p:cNvPr>
          <p:cNvSpPr>
            <a:spLocks noGrp="1"/>
          </p:cNvSpPr>
          <p:nvPr>
            <p:ph type="title"/>
          </p:nvPr>
        </p:nvSpPr>
        <p:spPr/>
        <p:txBody>
          <a:bodyPr rtlCol="0">
            <a:normAutofit fontScale="90000"/>
          </a:bodyPr>
          <a:lstStyle/>
          <a:p>
            <a:pPr fontAlgn="auto">
              <a:spcAft>
                <a:spcPts val="0"/>
              </a:spcAft>
              <a:defRPr/>
            </a:pPr>
            <a:r>
              <a:rPr lang="en-US" dirty="0"/>
              <a:t>Convergence: Procurement Regulation</a:t>
            </a:r>
          </a:p>
        </p:txBody>
      </p:sp>
      <p:graphicFrame>
        <p:nvGraphicFramePr>
          <p:cNvPr id="3" name="Diagram 2">
            <a:extLst>
              <a:ext uri="{FF2B5EF4-FFF2-40B4-BE49-F238E27FC236}">
                <a16:creationId xmlns:a16="http://schemas.microsoft.com/office/drawing/2014/main" id="{7818D784-7FB7-48F5-8C7B-B98A17F9A176}"/>
              </a:ext>
            </a:extLst>
          </p:cNvPr>
          <p:cNvGraphicFramePr/>
          <p:nvPr/>
        </p:nvGraphicFramePr>
        <p:xfrm>
          <a:off x="1912620" y="1691647"/>
          <a:ext cx="5494020" cy="461433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Slide Number Placeholder 4">
            <a:extLst>
              <a:ext uri="{FF2B5EF4-FFF2-40B4-BE49-F238E27FC236}">
                <a16:creationId xmlns:a16="http://schemas.microsoft.com/office/drawing/2014/main" id="{1487CABB-E176-4BD8-91AF-85B6A5C6B23C}"/>
              </a:ext>
            </a:extLst>
          </p:cNvPr>
          <p:cNvSpPr>
            <a:spLocks noGrp="1"/>
          </p:cNvSpPr>
          <p:nvPr>
            <p:ph type="sldNum" sz="quarter" idx="12"/>
          </p:nvPr>
        </p:nvSpPr>
        <p:spPr/>
        <p:txBody>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fontAlgn="base">
              <a:spcBef>
                <a:spcPct val="0"/>
              </a:spcBef>
              <a:spcAft>
                <a:spcPct val="0"/>
              </a:spcAft>
            </a:pPr>
            <a:fld id="{0DAC1361-CC62-4C23-89B0-A45E3202301E}" type="slidenum">
              <a:rPr lang="en-US" altLang="en-US">
                <a:solidFill>
                  <a:srgbClr val="FFFFFF"/>
                </a:solidFill>
                <a:latin typeface="Franklin Gothic Book" panose="020B0503020102020204" pitchFamily="34" charset="0"/>
                <a:cs typeface="Arial" panose="020B0604020202020204" pitchFamily="34" charset="0"/>
              </a:rPr>
              <a:pPr fontAlgn="base">
                <a:spcBef>
                  <a:spcPct val="0"/>
                </a:spcBef>
                <a:spcAft>
                  <a:spcPct val="0"/>
                </a:spcAft>
              </a:pPr>
              <a:t>9</a:t>
            </a:fld>
            <a:endParaRPr lang="en-US" altLang="en-US">
              <a:solidFill>
                <a:srgbClr val="FFFFFF"/>
              </a:solidFill>
              <a:latin typeface="Franklin Gothic Book" panose="020B0503020102020204" pitchFamily="34" charset="0"/>
              <a:cs typeface="Arial" panose="020B0604020202020204" pitchFamily="34" charset="0"/>
            </a:endParaRPr>
          </a:p>
        </p:txBody>
      </p:sp>
    </p:spTree>
  </p:cSld>
  <p:clrMapOvr>
    <a:masterClrMapping/>
  </p:clrMapOvr>
  <p:transition spd="slow"/>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_rels/theme2.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Equity">
  <a:themeElements>
    <a:clrScheme name="Equity">
      <a:dk1>
        <a:sysClr val="windowText" lastClr="000000"/>
      </a:dk1>
      <a:lt1>
        <a:sysClr val="window" lastClr="FFFFFF"/>
      </a:lt1>
      <a:dk2>
        <a:srgbClr val="696464"/>
      </a:dk2>
      <a:lt2>
        <a:srgbClr val="E9E5DC"/>
      </a:lt2>
      <a:accent1>
        <a:srgbClr val="D34817"/>
      </a:accent1>
      <a:accent2>
        <a:srgbClr val="9B2D1F"/>
      </a:accent2>
      <a:accent3>
        <a:srgbClr val="A28E6A"/>
      </a:accent3>
      <a:accent4>
        <a:srgbClr val="956251"/>
      </a:accent4>
      <a:accent5>
        <a:srgbClr val="918485"/>
      </a:accent5>
      <a:accent6>
        <a:srgbClr val="855D5D"/>
      </a:accent6>
      <a:hlink>
        <a:srgbClr val="CC9900"/>
      </a:hlink>
      <a:folHlink>
        <a:srgbClr val="96A9A9"/>
      </a:folHlink>
    </a:clrScheme>
    <a:fontScheme name="Equity">
      <a:majorFont>
        <a:latin typeface="Franklin Gothic Book"/>
        <a:ea typeface=""/>
        <a:cs typeface=""/>
        <a:font script="Grek" typeface="Calibri"/>
        <a:font script="Cyrl" typeface="Calibri"/>
        <a:font script="Jpan" typeface="HGｺﾞｼｯｸM"/>
        <a:font script="Hang" typeface="바탕"/>
        <a:font script="Hans" typeface="幼圆"/>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Perpetua"/>
        <a:ea typeface=""/>
        <a:cs typeface=""/>
        <a:font script="Grek" typeface="Cambria"/>
        <a:font script="Cyrl" typeface="Cambria"/>
        <a:font script="Jpan" typeface="HG創英ﾌﾟﾚｾﾞﾝｽEB"/>
        <a:font script="Hang" typeface="맑은 고딕"/>
        <a:font script="Hans" typeface="宋体"/>
        <a:font script="Hant" typeface="新細明體"/>
        <a:font script="Arab" typeface="Times New Roman"/>
        <a:font script="Hebr" typeface="Aharoni"/>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Equity">
      <a:fillStyleLst>
        <a:solidFill>
          <a:schemeClr val="phClr"/>
        </a:solidFill>
        <a:blipFill>
          <a:blip xmlns:r="http://schemas.openxmlformats.org/officeDocument/2006/relationships" r:embed="rId1">
            <a:duotone>
              <a:schemeClr val="phClr">
                <a:tint val="30000"/>
                <a:satMod val="300000"/>
              </a:schemeClr>
              <a:schemeClr val="phClr">
                <a:tint val="40000"/>
                <a:satMod val="200000"/>
              </a:schemeClr>
            </a:duotone>
          </a:blip>
          <a:tile tx="0" ty="0" sx="70000" sy="70000" flip="none" algn="ctr"/>
        </a:blipFill>
        <a:blipFill>
          <a:blip xmlns:r="http://schemas.openxmlformats.org/officeDocument/2006/relationships" r:embed="rId1">
            <a:duotone>
              <a:schemeClr val="phClr">
                <a:shade val="22000"/>
                <a:satMod val="160000"/>
              </a:schemeClr>
              <a:schemeClr val="phClr">
                <a:shade val="45000"/>
                <a:satMod val="100000"/>
              </a:schemeClr>
            </a:duotone>
          </a:blip>
          <a:tile tx="0" ty="0" sx="65000" sy="65000" flip="none" algn="ctr"/>
        </a:blipFill>
      </a:fillStyleLst>
      <a:lnStyleLst>
        <a:ln w="9525" cap="flat" cmpd="sng" algn="ctr">
          <a:solidFill>
            <a:schemeClr val="phClr">
              <a:shade val="60000"/>
              <a:satMod val="110000"/>
            </a:schemeClr>
          </a:solidFill>
          <a:prstDash val="solid"/>
        </a:ln>
        <a:ln w="127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algn="t" rotWithShape="0">
              <a:srgbClr val="000000">
                <a:alpha val="50000"/>
              </a:srgbClr>
            </a:outerShdw>
          </a:effectLst>
        </a:effectStyle>
        <a:effectStyle>
          <a:effectLst>
            <a:outerShdw blurRad="38100" dist="25400" dir="5400000" algn="t" rotWithShape="0">
              <a:srgbClr val="000000">
                <a:alpha val="50000"/>
              </a:srgbClr>
            </a:outerShdw>
          </a:effectLst>
        </a:effectStyle>
        <a:effectStyle>
          <a:effectLst>
            <a:outerShdw blurRad="50800" dist="50800" dir="5400000" algn="t" rotWithShape="0">
              <a:srgbClr val="000000">
                <a:alpha val="60000"/>
              </a:srgbClr>
            </a:outerShdw>
          </a:effectLst>
          <a:scene3d>
            <a:camera prst="isometricBottomUp" fov="0">
              <a:rot lat="0" lon="0" rev="0"/>
            </a:camera>
            <a:lightRig rig="soft" dir="b">
              <a:rot lat="0" lon="0" rev="9000000"/>
            </a:lightRig>
          </a:scene3d>
          <a:sp3d contourW="35000" prstMaterial="matte">
            <a:bevelT w="45000" h="38100" prst="convex"/>
            <a:contourClr>
              <a:schemeClr val="phClr">
                <a:tint val="10000"/>
                <a:satMod val="130000"/>
              </a:schemeClr>
            </a:contourClr>
          </a:sp3d>
        </a:effectStyle>
      </a:effectStyleLst>
      <a:bgFillStyleLst>
        <a:solidFill>
          <a:schemeClr val="phClr"/>
        </a:solidFill>
        <a:gradFill rotWithShape="1">
          <a:gsLst>
            <a:gs pos="0">
              <a:schemeClr val="phClr">
                <a:shade val="40000"/>
                <a:satMod val="165000"/>
              </a:schemeClr>
            </a:gs>
            <a:gs pos="50000">
              <a:schemeClr val="phClr">
                <a:shade val="80000"/>
                <a:satMod val="155000"/>
              </a:schemeClr>
            </a:gs>
            <a:gs pos="100000">
              <a:schemeClr val="phClr">
                <a:tint val="95000"/>
                <a:satMod val="200000"/>
              </a:schemeClr>
            </a:gs>
          </a:gsLst>
          <a:lin ang="16200000" scaled="1"/>
        </a:gradFill>
        <a:blipFill>
          <a:blip xmlns:r="http://schemas.openxmlformats.org/officeDocument/2006/relationships" r:embed="rId1">
            <a:duotone>
              <a:schemeClr val="phClr">
                <a:tint val="95000"/>
                <a:satMod val="200000"/>
              </a:schemeClr>
              <a:schemeClr val="phClr">
                <a:shade val="80000"/>
                <a:satMod val="100000"/>
              </a:schemeClr>
            </a:duotone>
          </a:blip>
          <a:tile tx="0" ty="0" sx="55000" sy="55000" flip="none" algn="tl"/>
        </a:blipFill>
      </a:bgFillStyleLst>
    </a:fmtScheme>
  </a:themeElements>
  <a:objectDefaults/>
  <a:extraClrSchemeLst/>
</a:theme>
</file>

<file path=ppt/theme/theme2.xml><?xml version="1.0" encoding="utf-8"?>
<a:theme xmlns:a="http://schemas.openxmlformats.org/drawingml/2006/main" name="1_Equity">
  <a:themeElements>
    <a:clrScheme name="Equity">
      <a:dk1>
        <a:sysClr val="windowText" lastClr="000000"/>
      </a:dk1>
      <a:lt1>
        <a:sysClr val="window" lastClr="FFFFFF"/>
      </a:lt1>
      <a:dk2>
        <a:srgbClr val="696464"/>
      </a:dk2>
      <a:lt2>
        <a:srgbClr val="E9E5DC"/>
      </a:lt2>
      <a:accent1>
        <a:srgbClr val="D34817"/>
      </a:accent1>
      <a:accent2>
        <a:srgbClr val="9B2D1F"/>
      </a:accent2>
      <a:accent3>
        <a:srgbClr val="A28E6A"/>
      </a:accent3>
      <a:accent4>
        <a:srgbClr val="956251"/>
      </a:accent4>
      <a:accent5>
        <a:srgbClr val="918485"/>
      </a:accent5>
      <a:accent6>
        <a:srgbClr val="855D5D"/>
      </a:accent6>
      <a:hlink>
        <a:srgbClr val="CC9900"/>
      </a:hlink>
      <a:folHlink>
        <a:srgbClr val="96A9A9"/>
      </a:folHlink>
    </a:clrScheme>
    <a:fontScheme name="Equity">
      <a:majorFont>
        <a:latin typeface="Franklin Gothic Book"/>
        <a:ea typeface=""/>
        <a:cs typeface=""/>
        <a:font script="Grek" typeface="Calibri"/>
        <a:font script="Cyrl" typeface="Calibri"/>
        <a:font script="Jpan" typeface="HGｺﾞｼｯｸM"/>
        <a:font script="Hang" typeface="바탕"/>
        <a:font script="Hans" typeface="幼圆"/>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Perpetua"/>
        <a:ea typeface=""/>
        <a:cs typeface=""/>
        <a:font script="Grek" typeface="Cambria"/>
        <a:font script="Cyrl" typeface="Cambria"/>
        <a:font script="Jpan" typeface="HG創英ﾌﾟﾚｾﾞﾝｽEB"/>
        <a:font script="Hang" typeface="맑은 고딕"/>
        <a:font script="Hans" typeface="宋体"/>
        <a:font script="Hant" typeface="新細明體"/>
        <a:font script="Arab" typeface="Times New Roman"/>
        <a:font script="Hebr" typeface="Aharoni"/>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Equity">
      <a:fillStyleLst>
        <a:solidFill>
          <a:schemeClr val="phClr"/>
        </a:solidFill>
        <a:blipFill>
          <a:blip xmlns:r="http://schemas.openxmlformats.org/officeDocument/2006/relationships" r:embed="rId1">
            <a:duotone>
              <a:schemeClr val="phClr">
                <a:tint val="30000"/>
                <a:satMod val="300000"/>
              </a:schemeClr>
              <a:schemeClr val="phClr">
                <a:tint val="40000"/>
                <a:satMod val="200000"/>
              </a:schemeClr>
            </a:duotone>
          </a:blip>
          <a:tile tx="0" ty="0" sx="70000" sy="70000" flip="none" algn="ctr"/>
        </a:blipFill>
        <a:blipFill>
          <a:blip xmlns:r="http://schemas.openxmlformats.org/officeDocument/2006/relationships" r:embed="rId1">
            <a:duotone>
              <a:schemeClr val="phClr">
                <a:shade val="22000"/>
                <a:satMod val="160000"/>
              </a:schemeClr>
              <a:schemeClr val="phClr">
                <a:shade val="45000"/>
                <a:satMod val="100000"/>
              </a:schemeClr>
            </a:duotone>
          </a:blip>
          <a:tile tx="0" ty="0" sx="65000" sy="65000" flip="none" algn="ctr"/>
        </a:blipFill>
      </a:fillStyleLst>
      <a:lnStyleLst>
        <a:ln w="9525" cap="flat" cmpd="sng" algn="ctr">
          <a:solidFill>
            <a:schemeClr val="phClr">
              <a:shade val="60000"/>
              <a:satMod val="110000"/>
            </a:schemeClr>
          </a:solidFill>
          <a:prstDash val="solid"/>
        </a:ln>
        <a:ln w="127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algn="t" rotWithShape="0">
              <a:srgbClr val="000000">
                <a:alpha val="50000"/>
              </a:srgbClr>
            </a:outerShdw>
          </a:effectLst>
        </a:effectStyle>
        <a:effectStyle>
          <a:effectLst>
            <a:outerShdw blurRad="38100" dist="25400" dir="5400000" algn="t" rotWithShape="0">
              <a:srgbClr val="000000">
                <a:alpha val="50000"/>
              </a:srgbClr>
            </a:outerShdw>
          </a:effectLst>
        </a:effectStyle>
        <a:effectStyle>
          <a:effectLst>
            <a:outerShdw blurRad="50800" dist="50800" dir="5400000" algn="t" rotWithShape="0">
              <a:srgbClr val="000000">
                <a:alpha val="60000"/>
              </a:srgbClr>
            </a:outerShdw>
          </a:effectLst>
          <a:scene3d>
            <a:camera prst="isometricBottomUp" fov="0">
              <a:rot lat="0" lon="0" rev="0"/>
            </a:camera>
            <a:lightRig rig="soft" dir="b">
              <a:rot lat="0" lon="0" rev="9000000"/>
            </a:lightRig>
          </a:scene3d>
          <a:sp3d contourW="35000" prstMaterial="matte">
            <a:bevelT w="45000" h="38100" prst="convex"/>
            <a:contourClr>
              <a:schemeClr val="phClr">
                <a:tint val="10000"/>
                <a:satMod val="130000"/>
              </a:schemeClr>
            </a:contourClr>
          </a:sp3d>
        </a:effectStyle>
      </a:effectStyleLst>
      <a:bgFillStyleLst>
        <a:solidFill>
          <a:schemeClr val="phClr"/>
        </a:solidFill>
        <a:gradFill rotWithShape="1">
          <a:gsLst>
            <a:gs pos="0">
              <a:schemeClr val="phClr">
                <a:shade val="40000"/>
                <a:satMod val="165000"/>
              </a:schemeClr>
            </a:gs>
            <a:gs pos="50000">
              <a:schemeClr val="phClr">
                <a:shade val="80000"/>
                <a:satMod val="155000"/>
              </a:schemeClr>
            </a:gs>
            <a:gs pos="100000">
              <a:schemeClr val="phClr">
                <a:tint val="95000"/>
                <a:satMod val="200000"/>
              </a:schemeClr>
            </a:gs>
          </a:gsLst>
          <a:lin ang="16200000" scaled="1"/>
        </a:gradFill>
        <a:blipFill>
          <a:blip xmlns:r="http://schemas.openxmlformats.org/officeDocument/2006/relationships" r:embed="rId1">
            <a:duotone>
              <a:schemeClr val="phClr">
                <a:tint val="95000"/>
                <a:satMod val="200000"/>
              </a:schemeClr>
              <a:schemeClr val="phClr">
                <a:shade val="80000"/>
                <a:satMod val="100000"/>
              </a:schemeClr>
            </a:duotone>
          </a:blip>
          <a:tile tx="0" ty="0" sx="55000" sy="55000" flip="none" algn="tl"/>
        </a:blipFill>
      </a:bgFillStyleLst>
    </a:fmtScheme>
  </a:themeElements>
  <a:objectDefaults/>
  <a:extraClrSchemeLst/>
</a:theme>
</file>

<file path=ppt/theme/theme3.xml><?xml version="1.0" encoding="utf-8"?>
<a:theme xmlns:a="http://schemas.openxmlformats.org/drawingml/2006/main" name="Chris Yukins - Session 1 - Anti-Corruption Theory and Practice 2015">
  <a:themeElements>
    <a:clrScheme name="Chap 8 Pricing of Adjustments - Cont'd Feb 25 1">
      <a:dk1>
        <a:srgbClr val="000514"/>
      </a:dk1>
      <a:lt1>
        <a:srgbClr val="FFFFFF"/>
      </a:lt1>
      <a:dk2>
        <a:srgbClr val="003399"/>
      </a:dk2>
      <a:lt2>
        <a:srgbClr val="E5E5FF"/>
      </a:lt2>
      <a:accent1>
        <a:srgbClr val="0099CC"/>
      </a:accent1>
      <a:accent2>
        <a:srgbClr val="A886E0"/>
      </a:accent2>
      <a:accent3>
        <a:srgbClr val="AAADCA"/>
      </a:accent3>
      <a:accent4>
        <a:srgbClr val="DADADA"/>
      </a:accent4>
      <a:accent5>
        <a:srgbClr val="AACAE2"/>
      </a:accent5>
      <a:accent6>
        <a:srgbClr val="9879CB"/>
      </a:accent6>
      <a:hlink>
        <a:srgbClr val="FFCC00"/>
      </a:hlink>
      <a:folHlink>
        <a:srgbClr val="FFFFCC"/>
      </a:folHlink>
    </a:clrScheme>
    <a:fontScheme name="Chap 8 Pricing of Adjustments - Cont'd Feb 25">
      <a:majorFont>
        <a:latin typeface="Garamond"/>
        <a:ea typeface=""/>
        <a:cs typeface=""/>
      </a:majorFont>
      <a:minorFont>
        <a:latin typeface="Garamon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Garamond" pitchFamily="18"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Garamond" pitchFamily="18" charset="0"/>
          </a:defRPr>
        </a:defPPr>
      </a:lstStyle>
    </a:lnDef>
  </a:objectDefaults>
  <a:extraClrSchemeLst>
    <a:extraClrScheme>
      <a:clrScheme name="Chap 8 Pricing of Adjustments - Cont'd Feb 25 1">
        <a:dk1>
          <a:srgbClr val="000514"/>
        </a:dk1>
        <a:lt1>
          <a:srgbClr val="FFFFFF"/>
        </a:lt1>
        <a:dk2>
          <a:srgbClr val="003399"/>
        </a:dk2>
        <a:lt2>
          <a:srgbClr val="E5E5FF"/>
        </a:lt2>
        <a:accent1>
          <a:srgbClr val="0099CC"/>
        </a:accent1>
        <a:accent2>
          <a:srgbClr val="A886E0"/>
        </a:accent2>
        <a:accent3>
          <a:srgbClr val="AAADCA"/>
        </a:accent3>
        <a:accent4>
          <a:srgbClr val="DADADA"/>
        </a:accent4>
        <a:accent5>
          <a:srgbClr val="AACAE2"/>
        </a:accent5>
        <a:accent6>
          <a:srgbClr val="9879CB"/>
        </a:accent6>
        <a:hlink>
          <a:srgbClr val="FFCC00"/>
        </a:hlink>
        <a:folHlink>
          <a:srgbClr val="FFFFCC"/>
        </a:folHlink>
      </a:clrScheme>
      <a:clrMap bg1="dk2" tx1="lt1" bg2="dk1" tx2="lt2" accent1="accent1" accent2="accent2" accent3="accent3" accent4="accent4" accent5="accent5" accent6="accent6" hlink="hlink" folHlink="folHlink"/>
    </a:extraClrScheme>
    <a:extraClrScheme>
      <a:clrScheme name="Chap 8 Pricing of Adjustments - Cont'd Feb 25 2">
        <a:dk1>
          <a:srgbClr val="3E3E5C"/>
        </a:dk1>
        <a:lt1>
          <a:srgbClr val="FFFFFF"/>
        </a:lt1>
        <a:dk2>
          <a:srgbClr val="666699"/>
        </a:dk2>
        <a:lt2>
          <a:srgbClr val="DFDFE9"/>
        </a:lt2>
        <a:accent1>
          <a:srgbClr val="CC66FF"/>
        </a:accent1>
        <a:accent2>
          <a:srgbClr val="679ACD"/>
        </a:accent2>
        <a:accent3>
          <a:srgbClr val="B8B8CA"/>
        </a:accent3>
        <a:accent4>
          <a:srgbClr val="DADADA"/>
        </a:accent4>
        <a:accent5>
          <a:srgbClr val="E2B8FF"/>
        </a:accent5>
        <a:accent6>
          <a:srgbClr val="5D8BBA"/>
        </a:accent6>
        <a:hlink>
          <a:srgbClr val="CCECFF"/>
        </a:hlink>
        <a:folHlink>
          <a:srgbClr val="CCCCFF"/>
        </a:folHlink>
      </a:clrScheme>
      <a:clrMap bg1="dk2" tx1="lt1" bg2="dk1" tx2="lt2" accent1="accent1" accent2="accent2" accent3="accent3" accent4="accent4" accent5="accent5" accent6="accent6" hlink="hlink" folHlink="folHlink"/>
    </a:extraClrScheme>
    <a:extraClrScheme>
      <a:clrScheme name="Chap 8 Pricing of Adjustments - Cont'd Feb 25 3">
        <a:dk1>
          <a:srgbClr val="2A5400"/>
        </a:dk1>
        <a:lt1>
          <a:srgbClr val="FFFFFF"/>
        </a:lt1>
        <a:dk2>
          <a:srgbClr val="4A9400"/>
        </a:dk2>
        <a:lt2>
          <a:srgbClr val="BAE8BA"/>
        </a:lt2>
        <a:accent1>
          <a:srgbClr val="33CC33"/>
        </a:accent1>
        <a:accent2>
          <a:srgbClr val="99CC00"/>
        </a:accent2>
        <a:accent3>
          <a:srgbClr val="B1C8AA"/>
        </a:accent3>
        <a:accent4>
          <a:srgbClr val="DADADA"/>
        </a:accent4>
        <a:accent5>
          <a:srgbClr val="ADE2AD"/>
        </a:accent5>
        <a:accent6>
          <a:srgbClr val="8AB900"/>
        </a:accent6>
        <a:hlink>
          <a:srgbClr val="99FF33"/>
        </a:hlink>
        <a:folHlink>
          <a:srgbClr val="FFFF99"/>
        </a:folHlink>
      </a:clrScheme>
      <a:clrMap bg1="dk2" tx1="lt1" bg2="dk1" tx2="lt2" accent1="accent1" accent2="accent2" accent3="accent3" accent4="accent4" accent5="accent5" accent6="accent6" hlink="hlink" folHlink="folHlink"/>
    </a:extraClrScheme>
    <a:extraClrScheme>
      <a:clrScheme name="Chap 8 Pricing of Adjustments - Cont'd Feb 25 4">
        <a:dk1>
          <a:srgbClr val="000000"/>
        </a:dk1>
        <a:lt1>
          <a:srgbClr val="FFFFFF"/>
        </a:lt1>
        <a:dk2>
          <a:srgbClr val="51596D"/>
        </a:dk2>
        <a:lt2>
          <a:srgbClr val="DDDDDD"/>
        </a:lt2>
        <a:accent1>
          <a:srgbClr val="787E8A"/>
        </a:accent1>
        <a:accent2>
          <a:srgbClr val="339966"/>
        </a:accent2>
        <a:accent3>
          <a:srgbClr val="B3B5BA"/>
        </a:accent3>
        <a:accent4>
          <a:srgbClr val="DADADA"/>
        </a:accent4>
        <a:accent5>
          <a:srgbClr val="BEC0C4"/>
        </a:accent5>
        <a:accent6>
          <a:srgbClr val="2D8A5C"/>
        </a:accent6>
        <a:hlink>
          <a:srgbClr val="00FFFF"/>
        </a:hlink>
        <a:folHlink>
          <a:srgbClr val="74B6D0"/>
        </a:folHlink>
      </a:clrScheme>
      <a:clrMap bg1="dk2" tx1="lt1" bg2="dk1" tx2="lt2" accent1="accent1" accent2="accent2" accent3="accent3" accent4="accent4" accent5="accent5" accent6="accent6" hlink="hlink" folHlink="folHlink"/>
    </a:extraClrScheme>
    <a:extraClrScheme>
      <a:clrScheme name="Chap 8 Pricing of Adjustments - Cont'd Feb 25 5">
        <a:dk1>
          <a:srgbClr val="5C1F00"/>
        </a:dk1>
        <a:lt1>
          <a:srgbClr val="FFFFFF"/>
        </a:lt1>
        <a:dk2>
          <a:srgbClr val="8C0000"/>
        </a:dk2>
        <a:lt2>
          <a:srgbClr val="DFD293"/>
        </a:lt2>
        <a:accent1>
          <a:srgbClr val="FF6845"/>
        </a:accent1>
        <a:accent2>
          <a:srgbClr val="BE7960"/>
        </a:accent2>
        <a:accent3>
          <a:srgbClr val="C5AAAA"/>
        </a:accent3>
        <a:accent4>
          <a:srgbClr val="DADADA"/>
        </a:accent4>
        <a:accent5>
          <a:srgbClr val="FFB9B0"/>
        </a:accent5>
        <a:accent6>
          <a:srgbClr val="AC6D56"/>
        </a:accent6>
        <a:hlink>
          <a:srgbClr val="FFFFCC"/>
        </a:hlink>
        <a:folHlink>
          <a:srgbClr val="FFCC00"/>
        </a:folHlink>
      </a:clrScheme>
      <a:clrMap bg1="dk2" tx1="lt1" bg2="dk1" tx2="lt2" accent1="accent1" accent2="accent2" accent3="accent3" accent4="accent4" accent5="accent5" accent6="accent6" hlink="hlink" folHlink="folHlink"/>
    </a:extraClrScheme>
    <a:extraClrScheme>
      <a:clrScheme name="Chap 8 Pricing of Adjustments - Cont'd Feb 25 6">
        <a:dk1>
          <a:srgbClr val="5E4444"/>
        </a:dk1>
        <a:lt1>
          <a:srgbClr val="F7F3F3"/>
        </a:lt1>
        <a:dk2>
          <a:srgbClr val="8A6362"/>
        </a:dk2>
        <a:lt2>
          <a:srgbClr val="D8C1BA"/>
        </a:lt2>
        <a:accent1>
          <a:srgbClr val="CC6600"/>
        </a:accent1>
        <a:accent2>
          <a:srgbClr val="C16059"/>
        </a:accent2>
        <a:accent3>
          <a:srgbClr val="C4B7B7"/>
        </a:accent3>
        <a:accent4>
          <a:srgbClr val="D3D0D0"/>
        </a:accent4>
        <a:accent5>
          <a:srgbClr val="E2B8AA"/>
        </a:accent5>
        <a:accent6>
          <a:srgbClr val="AF5650"/>
        </a:accent6>
        <a:hlink>
          <a:srgbClr val="FFCC00"/>
        </a:hlink>
        <a:folHlink>
          <a:srgbClr val="CBB557"/>
        </a:folHlink>
      </a:clrScheme>
      <a:clrMap bg1="dk2" tx1="lt1" bg2="dk1" tx2="lt2" accent1="accent1" accent2="accent2" accent3="accent3" accent4="accent4" accent5="accent5" accent6="accent6" hlink="hlink" folHlink="folHlink"/>
    </a:extraClrScheme>
    <a:extraClrScheme>
      <a:clrScheme name="Chap 8 Pricing of Adjustments - Cont'd Feb 25 7">
        <a:dk1>
          <a:srgbClr val="7F6737"/>
        </a:dk1>
        <a:lt1>
          <a:srgbClr val="FFFFFF"/>
        </a:lt1>
        <a:dk2>
          <a:srgbClr val="BFA673"/>
        </a:dk2>
        <a:lt2>
          <a:srgbClr val="E6E3AA"/>
        </a:lt2>
        <a:accent1>
          <a:srgbClr val="FFCC00"/>
        </a:accent1>
        <a:accent2>
          <a:srgbClr val="808000"/>
        </a:accent2>
        <a:accent3>
          <a:srgbClr val="DCD0BC"/>
        </a:accent3>
        <a:accent4>
          <a:srgbClr val="DADADA"/>
        </a:accent4>
        <a:accent5>
          <a:srgbClr val="FFE2AA"/>
        </a:accent5>
        <a:accent6>
          <a:srgbClr val="737300"/>
        </a:accent6>
        <a:hlink>
          <a:srgbClr val="784700"/>
        </a:hlink>
        <a:folHlink>
          <a:srgbClr val="9A7200"/>
        </a:folHlink>
      </a:clrScheme>
      <a:clrMap bg1="dk2" tx1="lt1" bg2="dk1" tx2="lt2" accent1="accent1" accent2="accent2" accent3="accent3" accent4="accent4" accent5="accent5" accent6="accent6" hlink="hlink" folHlink="folHlink"/>
    </a:extraClrScheme>
    <a:extraClrScheme>
      <a:clrScheme name="Chap 8 Pricing of Adjustments - Cont'd Feb 25 8">
        <a:dk1>
          <a:srgbClr val="4B2500"/>
        </a:dk1>
        <a:lt1>
          <a:srgbClr val="F9F0D3"/>
        </a:lt1>
        <a:dk2>
          <a:srgbClr val="A69564"/>
        </a:dk2>
        <a:lt2>
          <a:srgbClr val="EFDEAF"/>
        </a:lt2>
        <a:accent1>
          <a:srgbClr val="FFFFE3"/>
        </a:accent1>
        <a:accent2>
          <a:srgbClr val="BFBFA7"/>
        </a:accent2>
        <a:accent3>
          <a:srgbClr val="FBF6E6"/>
        </a:accent3>
        <a:accent4>
          <a:srgbClr val="3F1E00"/>
        </a:accent4>
        <a:accent5>
          <a:srgbClr val="FFFFEF"/>
        </a:accent5>
        <a:accent6>
          <a:srgbClr val="ADAD97"/>
        </a:accent6>
        <a:hlink>
          <a:srgbClr val="7B6D47"/>
        </a:hlink>
        <a:folHlink>
          <a:srgbClr val="A99D2F"/>
        </a:folHlink>
      </a:clrScheme>
      <a:clrMap bg1="lt1" tx1="dk1" bg2="lt2" tx2="dk2" accent1="accent1" accent2="accent2" accent3="accent3" accent4="accent4" accent5="accent5" accent6="accent6" hlink="hlink" folHlink="folHlink"/>
    </a:extraClrScheme>
    <a:extraClrScheme>
      <a:clrScheme name="Chap 8 Pricing of Adjustments - Cont'd Feb 25 9">
        <a:dk1>
          <a:srgbClr val="000000"/>
        </a:dk1>
        <a:lt1>
          <a:srgbClr val="FFFFFF"/>
        </a:lt1>
        <a:dk2>
          <a:srgbClr val="000000"/>
        </a:dk2>
        <a:lt2>
          <a:srgbClr val="808080"/>
        </a:lt2>
        <a:accent1>
          <a:srgbClr val="CCECFF"/>
        </a:accent1>
        <a:accent2>
          <a:srgbClr val="333399"/>
        </a:accent2>
        <a:accent3>
          <a:srgbClr val="FFFFFF"/>
        </a:accent3>
        <a:accent4>
          <a:srgbClr val="000000"/>
        </a:accent4>
        <a:accent5>
          <a:srgbClr val="E2F4FF"/>
        </a:accent5>
        <a:accent6>
          <a:srgbClr val="2D2D8A"/>
        </a:accent6>
        <a:hlink>
          <a:srgbClr val="6600FF"/>
        </a:hlink>
        <a:folHlink>
          <a:srgbClr val="00990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Tema do Offic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TotalTime>
  <Words>718</Words>
  <Application>Microsoft Office PowerPoint</Application>
  <PresentationFormat>On-screen Show (4:3)</PresentationFormat>
  <Paragraphs>111</Paragraphs>
  <Slides>23</Slides>
  <Notes>3</Notes>
  <HiddenSlides>0</HiddenSlides>
  <MMClips>0</MMClips>
  <ScaleCrop>false</ScaleCrop>
  <HeadingPairs>
    <vt:vector size="8" baseType="variant">
      <vt:variant>
        <vt:lpstr>Fonts Used</vt:lpstr>
      </vt:variant>
      <vt:variant>
        <vt:i4>8</vt:i4>
      </vt:variant>
      <vt:variant>
        <vt:lpstr>Theme</vt:lpstr>
      </vt:variant>
      <vt:variant>
        <vt:i4>4</vt:i4>
      </vt:variant>
      <vt:variant>
        <vt:lpstr>Embedded OLE Servers</vt:lpstr>
      </vt:variant>
      <vt:variant>
        <vt:i4>2</vt:i4>
      </vt:variant>
      <vt:variant>
        <vt:lpstr>Slide Titles</vt:lpstr>
      </vt:variant>
      <vt:variant>
        <vt:i4>23</vt:i4>
      </vt:variant>
    </vt:vector>
  </HeadingPairs>
  <TitlesOfParts>
    <vt:vector size="37" baseType="lpstr">
      <vt:lpstr>Arial</vt:lpstr>
      <vt:lpstr>Calibri</vt:lpstr>
      <vt:lpstr>Calibri Light</vt:lpstr>
      <vt:lpstr>Franklin Gothic Book</vt:lpstr>
      <vt:lpstr>Garamond</vt:lpstr>
      <vt:lpstr>Perpetua</vt:lpstr>
      <vt:lpstr>Wingdings</vt:lpstr>
      <vt:lpstr>Wingdings 2</vt:lpstr>
      <vt:lpstr>Equity</vt:lpstr>
      <vt:lpstr>1_Equity</vt:lpstr>
      <vt:lpstr>Chris Yukins - Session 1 - Anti-Corruption Theory and Practice 2015</vt:lpstr>
      <vt:lpstr>Tema do Office</vt:lpstr>
      <vt:lpstr>Bitmap Image</vt:lpstr>
      <vt:lpstr>think-cell Slide</vt:lpstr>
      <vt:lpstr>An Introduction to  U.S. Procurement – Part III</vt:lpstr>
      <vt:lpstr>Electronic Marketplaces</vt:lpstr>
      <vt:lpstr>PowerPoint Presentation</vt:lpstr>
      <vt:lpstr>PowerPoint Presentation</vt:lpstr>
      <vt:lpstr>Context:  International Procurement </vt:lpstr>
      <vt:lpstr>PowerPoint Presentation</vt:lpstr>
      <vt:lpstr>PowerPoint Presentation</vt:lpstr>
      <vt:lpstr>PowerPoint Presentation</vt:lpstr>
      <vt:lpstr>Convergence: Procurement Regulation</vt:lpstr>
      <vt:lpstr>PowerPoint Presentation</vt:lpstr>
      <vt:lpstr>What Is a Reverse Auction?</vt:lpstr>
      <vt:lpstr>PowerPoint Presentation</vt:lpstr>
      <vt:lpstr>Case study:  Georgia –  Using E-Procurement To Combat Corruption</vt:lpstr>
      <vt:lpstr>Georgia E-Procurement</vt:lpstr>
      <vt:lpstr>Sample Georgian Auction</vt:lpstr>
      <vt:lpstr>The U.S. Rule on Reverse Auctions</vt:lpstr>
      <vt:lpstr>Which types of auction can be used? </vt:lpstr>
      <vt:lpstr>Which types of auction can be used?</vt:lpstr>
      <vt:lpstr>Which types of auction can be used?</vt:lpstr>
      <vt:lpstr>European Union Directive – Cont’d</vt:lpstr>
      <vt:lpstr>Mock Auction Rules</vt:lpstr>
      <vt:lpstr>Mock Auction</vt:lpstr>
      <vt:lpstr>Conclus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n Introduction to  U.S. Procurement – Part III</dc:title>
  <dc:creator>Yukins, Christopher R.</dc:creator>
  <cp:lastModifiedBy>Yukins, Christopher R.</cp:lastModifiedBy>
  <cp:revision>1</cp:revision>
  <dcterms:created xsi:type="dcterms:W3CDTF">2020-01-30T11:26:06Z</dcterms:created>
  <dcterms:modified xsi:type="dcterms:W3CDTF">2020-01-30T11:27:14Z</dcterms:modified>
</cp:coreProperties>
</file>